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wmf" ContentType="image/x-wmf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notesSlides/notesSlide9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3.xml" ContentType="application/vnd.openxmlformats-officedocument.presentationml.notesSlid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12" r:id="rId1"/>
    <p:sldMasterId id="2147483828" r:id="rId2"/>
    <p:sldMasterId id="2147483832" r:id="rId3"/>
  </p:sldMasterIdLst>
  <p:notesMasterIdLst>
    <p:notesMasterId r:id="rId13"/>
  </p:notesMasterIdLst>
  <p:handoutMasterIdLst>
    <p:handoutMasterId r:id="rId14"/>
  </p:handoutMasterIdLst>
  <p:sldIdLst>
    <p:sldId id="302" r:id="rId4"/>
    <p:sldId id="443" r:id="rId5"/>
    <p:sldId id="461" r:id="rId6"/>
    <p:sldId id="459" r:id="rId7"/>
    <p:sldId id="458" r:id="rId8"/>
    <p:sldId id="460" r:id="rId9"/>
    <p:sldId id="457" r:id="rId10"/>
    <p:sldId id="462" r:id="rId11"/>
    <p:sldId id="455" r:id="rId12"/>
  </p:sldIdLst>
  <p:sldSz cx="9144000" cy="6858000" type="screen4x3"/>
  <p:notesSz cx="10234613" cy="7104063"/>
  <p:defaultTextStyle>
    <a:defPPr>
      <a:defRPr lang="es-ES"/>
    </a:defPPr>
    <a:lvl1pPr algn="l" defTabSz="45711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Geneva" charset="0"/>
        <a:cs typeface="Geneva" charset="0"/>
      </a:defRPr>
    </a:lvl1pPr>
    <a:lvl2pPr marL="457116" algn="l" defTabSz="45711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Geneva" charset="0"/>
        <a:cs typeface="Geneva" charset="0"/>
      </a:defRPr>
    </a:lvl2pPr>
    <a:lvl3pPr marL="914231" algn="l" defTabSz="45711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Geneva" charset="0"/>
        <a:cs typeface="Geneva" charset="0"/>
      </a:defRPr>
    </a:lvl3pPr>
    <a:lvl4pPr marL="1371348" algn="l" defTabSz="45711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Geneva" charset="0"/>
        <a:cs typeface="Geneva" charset="0"/>
      </a:defRPr>
    </a:lvl4pPr>
    <a:lvl5pPr marL="1828463" algn="l" defTabSz="45711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Geneva" charset="0"/>
        <a:cs typeface="Geneva" charset="0"/>
      </a:defRPr>
    </a:lvl5pPr>
    <a:lvl6pPr marL="2285579" algn="l" defTabSz="457116" rtl="0" eaLnBrk="1" latinLnBrk="0" hangingPunct="1">
      <a:defRPr kern="1200">
        <a:solidFill>
          <a:schemeClr val="tx1"/>
        </a:solidFill>
        <a:latin typeface="Calibri" charset="0"/>
        <a:ea typeface="Geneva" charset="0"/>
        <a:cs typeface="Geneva" charset="0"/>
      </a:defRPr>
    </a:lvl6pPr>
    <a:lvl7pPr marL="2742695" algn="l" defTabSz="457116" rtl="0" eaLnBrk="1" latinLnBrk="0" hangingPunct="1">
      <a:defRPr kern="1200">
        <a:solidFill>
          <a:schemeClr val="tx1"/>
        </a:solidFill>
        <a:latin typeface="Calibri" charset="0"/>
        <a:ea typeface="Geneva" charset="0"/>
        <a:cs typeface="Geneva" charset="0"/>
      </a:defRPr>
    </a:lvl7pPr>
    <a:lvl8pPr marL="3199811" algn="l" defTabSz="457116" rtl="0" eaLnBrk="1" latinLnBrk="0" hangingPunct="1">
      <a:defRPr kern="1200">
        <a:solidFill>
          <a:schemeClr val="tx1"/>
        </a:solidFill>
        <a:latin typeface="Calibri" charset="0"/>
        <a:ea typeface="Geneva" charset="0"/>
        <a:cs typeface="Geneva" charset="0"/>
      </a:defRPr>
    </a:lvl8pPr>
    <a:lvl9pPr marL="3656927" algn="l" defTabSz="457116" rtl="0" eaLnBrk="1" latinLnBrk="0" hangingPunct="1">
      <a:defRPr kern="1200">
        <a:solidFill>
          <a:schemeClr val="tx1"/>
        </a:solidFill>
        <a:latin typeface="Calibri" charset="0"/>
        <a:ea typeface="Geneva" charset="0"/>
        <a:cs typeface="Geneva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377">
          <p15:clr>
            <a:srgbClr val="A4A3A4"/>
          </p15:clr>
        </p15:guide>
        <p15:guide id="2" orient="horz" pos="1388">
          <p15:clr>
            <a:srgbClr val="A4A3A4"/>
          </p15:clr>
        </p15:guide>
        <p15:guide id="3" orient="horz" pos="3379">
          <p15:clr>
            <a:srgbClr val="A4A3A4"/>
          </p15:clr>
        </p15:guide>
        <p15:guide id="4" pos="2903" userDrawn="1">
          <p15:clr>
            <a:srgbClr val="A4A3A4"/>
          </p15:clr>
        </p15:guide>
        <p15:guide id="5" pos="73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38" userDrawn="1">
          <p15:clr>
            <a:srgbClr val="A4A3A4"/>
          </p15:clr>
        </p15:guide>
        <p15:guide id="2" pos="322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3E7E"/>
    <a:srgbClr val="48769C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Estilo claro 3 - Énfasis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Estilo claro 3 - Énfasis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D083AE6-46FA-4A59-8FB0-9F97EB10719F}" styleName="Estilo claro 3 - Énfasis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DBED569-4797-4DF1-A0F4-6AAB3CD982D8}" styleName="Estilo claro 3 - Énfasis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8FB837D-C827-4EFA-A057-4D05807E0F7C}" styleName="Estilo temático 1 - Énfasis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0E3FDE45-AF77-4B5C-9715-49D594BDF05E}" styleName="Estilo claro 1 - Énfasis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12C8C85-51F0-491E-9774-3900AFEF0FD7}" styleName="Estilo claro 2 - Énfasis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034E78-7F5D-4C2E-B375-FC64B27BC917}" styleName="Estilo o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5BE263C-DBD7-4A20-BB59-AAB30ACAA65A}" styleName="Estilo medio 3 - 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Estilo medio 1 - Énfasi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2833802-FEF1-4C79-8D5D-14CF1EAF98D9}" styleName="Estilo claro 2 - Énfasis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8603FDC-E32A-4AB5-989C-0864C3EAD2B8}" styleName="Estilo temático 2 - Énfasis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84E427A-3D55-4303-BF80-6455036E1DE7}" styleName="Estilo temático 1 - Énfasis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611" autoAdjust="0"/>
    <p:restoredTop sz="94434" autoAdjust="0"/>
  </p:normalViewPr>
  <p:slideViewPr>
    <p:cSldViewPr snapToGrid="0" snapToObjects="1">
      <p:cViewPr varScale="1">
        <p:scale>
          <a:sx n="52" d="100"/>
          <a:sy n="52" d="100"/>
        </p:scale>
        <p:origin x="1029" y="55"/>
      </p:cViewPr>
      <p:guideLst>
        <p:guide orient="horz" pos="3377"/>
        <p:guide orient="horz" pos="1388"/>
        <p:guide orient="horz" pos="3379"/>
        <p:guide pos="2903"/>
        <p:guide pos="73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10" d="100"/>
          <a:sy n="110" d="100"/>
        </p:scale>
        <p:origin x="-1506" y="-90"/>
      </p:cViewPr>
      <p:guideLst>
        <p:guide orient="horz" pos="2238"/>
        <p:guide pos="32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customXml" Target="../customXml/item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20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customXml" Target="../customXml/item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4434999" cy="355203"/>
          </a:xfrm>
          <a:prstGeom prst="rect">
            <a:avLst/>
          </a:prstGeom>
        </p:spPr>
        <p:txBody>
          <a:bodyPr vert="horz" lIns="94777" tIns="47389" rIns="94777" bIns="47389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5797249" y="0"/>
            <a:ext cx="4434999" cy="355203"/>
          </a:xfrm>
          <a:prstGeom prst="rect">
            <a:avLst/>
          </a:prstGeom>
        </p:spPr>
        <p:txBody>
          <a:bodyPr vert="horz" lIns="94777" tIns="47389" rIns="94777" bIns="47389" rtlCol="0"/>
          <a:lstStyle>
            <a:lvl1pPr algn="r">
              <a:defRPr sz="1200"/>
            </a:lvl1pPr>
          </a:lstStyle>
          <a:p>
            <a:fld id="{7B66DB15-A557-194D-8912-30C4A6D28516}" type="datetimeFigureOut">
              <a:rPr lang="es-ES" smtClean="0"/>
              <a:pPr/>
              <a:t>24/11/2019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4" y="6747628"/>
            <a:ext cx="4434999" cy="355203"/>
          </a:xfrm>
          <a:prstGeom prst="rect">
            <a:avLst/>
          </a:prstGeom>
        </p:spPr>
        <p:txBody>
          <a:bodyPr vert="horz" lIns="94777" tIns="47389" rIns="94777" bIns="47389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5797249" y="6747628"/>
            <a:ext cx="4434999" cy="355203"/>
          </a:xfrm>
          <a:prstGeom prst="rect">
            <a:avLst/>
          </a:prstGeom>
        </p:spPr>
        <p:txBody>
          <a:bodyPr vert="horz" lIns="94777" tIns="47389" rIns="94777" bIns="47389" rtlCol="0" anchor="b"/>
          <a:lstStyle>
            <a:lvl1pPr algn="r">
              <a:defRPr sz="1200"/>
            </a:lvl1pPr>
          </a:lstStyle>
          <a:p>
            <a:fld id="{669E038E-FE43-9A46-BC2C-85A0276EFEDB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650178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4434999" cy="355203"/>
          </a:xfrm>
          <a:prstGeom prst="rect">
            <a:avLst/>
          </a:prstGeom>
        </p:spPr>
        <p:txBody>
          <a:bodyPr vert="horz" lIns="94777" tIns="47389" rIns="94777" bIns="47389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3341688" y="531813"/>
            <a:ext cx="3551237" cy="26654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77" tIns="47389" rIns="94777" bIns="47389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1023463" y="3374430"/>
            <a:ext cx="8187690" cy="3196829"/>
          </a:xfrm>
          <a:prstGeom prst="rect">
            <a:avLst/>
          </a:prstGeom>
        </p:spPr>
        <p:txBody>
          <a:bodyPr vert="horz" lIns="94777" tIns="47389" rIns="94777" bIns="47389" rtlCol="0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4" y="6747628"/>
            <a:ext cx="4434999" cy="355203"/>
          </a:xfrm>
          <a:prstGeom prst="rect">
            <a:avLst/>
          </a:prstGeom>
        </p:spPr>
        <p:txBody>
          <a:bodyPr vert="horz" lIns="94777" tIns="47389" rIns="94777" bIns="47389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5797249" y="6747628"/>
            <a:ext cx="4434999" cy="355203"/>
          </a:xfrm>
          <a:prstGeom prst="rect">
            <a:avLst/>
          </a:prstGeom>
        </p:spPr>
        <p:txBody>
          <a:bodyPr vert="horz" lIns="94777" tIns="47389" rIns="94777" bIns="47389" rtlCol="0" anchor="b"/>
          <a:lstStyle>
            <a:lvl1pPr algn="r">
              <a:defRPr sz="1200"/>
            </a:lvl1pPr>
          </a:lstStyle>
          <a:p>
            <a:fld id="{AC819192-BAEE-2E4B-BD8A-88E45EB20FA6}" type="slidenum">
              <a:rPr lang="es-ES" smtClean="0"/>
              <a:pPr/>
              <a:t>‹Nº›</a:t>
            </a:fld>
            <a:endParaRPr lang="es-ES"/>
          </a:p>
        </p:txBody>
      </p:sp>
      <p:pic>
        <p:nvPicPr>
          <p:cNvPr id="8" name="Imagen 11" descr="EVE LOGO HORIZONTAL-0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9140" y="64249"/>
            <a:ext cx="1514963" cy="564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9499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1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16" algn="l" defTabSz="4571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31" algn="l" defTabSz="4571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48" algn="l" defTabSz="4571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63" algn="l" defTabSz="4571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579" algn="l" defTabSz="4571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95" algn="l" defTabSz="4571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11" algn="l" defTabSz="4571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27" algn="l" defTabSz="4571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3341688" y="531813"/>
            <a:ext cx="3551237" cy="2665412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19192-BAEE-2E4B-BD8A-88E45EB20FA6}" type="slidenum">
              <a:rPr lang="es-ES" smtClean="0"/>
              <a:pPr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066514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341688" y="531813"/>
            <a:ext cx="3551237" cy="2665412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19192-BAEE-2E4B-BD8A-88E45EB20FA6}" type="slidenum">
              <a:rPr lang="es-ES" smtClean="0">
                <a:solidFill>
                  <a:prstClr val="black"/>
                </a:solidFill>
              </a:rPr>
              <a:pPr/>
              <a:t>2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2288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341688" y="531813"/>
            <a:ext cx="3551237" cy="2665412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19192-BAEE-2E4B-BD8A-88E45EB20FA6}" type="slidenum">
              <a:rPr lang="es-ES" smtClean="0">
                <a:solidFill>
                  <a:prstClr val="black"/>
                </a:solidFill>
              </a:rPr>
              <a:pPr/>
              <a:t>3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7513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341688" y="531813"/>
            <a:ext cx="3551237" cy="2665412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19192-BAEE-2E4B-BD8A-88E45EB20FA6}" type="slidenum">
              <a:rPr lang="es-ES" smtClean="0">
                <a:solidFill>
                  <a:prstClr val="black"/>
                </a:solidFill>
              </a:rPr>
              <a:pPr/>
              <a:t>4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79054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341688" y="531813"/>
            <a:ext cx="3551237" cy="2665412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19192-BAEE-2E4B-BD8A-88E45EB20FA6}" type="slidenum">
              <a:rPr lang="es-ES" smtClean="0">
                <a:solidFill>
                  <a:prstClr val="black"/>
                </a:solidFill>
              </a:rPr>
              <a:pPr/>
              <a:t>5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06075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341688" y="531813"/>
            <a:ext cx="3551237" cy="2665412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19192-BAEE-2E4B-BD8A-88E45EB20FA6}" type="slidenum">
              <a:rPr lang="es-ES" smtClean="0">
                <a:solidFill>
                  <a:prstClr val="black"/>
                </a:solidFill>
              </a:rPr>
              <a:pPr/>
              <a:t>6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60248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341688" y="531813"/>
            <a:ext cx="3551237" cy="2665412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19192-BAEE-2E4B-BD8A-88E45EB20FA6}" type="slidenum">
              <a:rPr lang="es-ES" smtClean="0">
                <a:solidFill>
                  <a:prstClr val="black"/>
                </a:solidFill>
              </a:rPr>
              <a:pPr/>
              <a:t>7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6294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341688" y="531813"/>
            <a:ext cx="3551237" cy="2665412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19192-BAEE-2E4B-BD8A-88E45EB20FA6}" type="slidenum">
              <a:rPr lang="es-ES" smtClean="0">
                <a:solidFill>
                  <a:prstClr val="black"/>
                </a:solidFill>
              </a:rPr>
              <a:pPr/>
              <a:t>8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93767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341688" y="531813"/>
            <a:ext cx="3551237" cy="2665412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819192-BAEE-2E4B-BD8A-88E45EB20FA6}" type="slidenum">
              <a:rPr lang="es-ES" smtClean="0">
                <a:solidFill>
                  <a:prstClr val="black"/>
                </a:solidFill>
              </a:rPr>
              <a:pPr/>
              <a:t>9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1644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posición de imagen 2"/>
          <p:cNvSpPr>
            <a:spLocks noGrp="1"/>
          </p:cNvSpPr>
          <p:nvPr>
            <p:ph type="pic" sz="quarter" idx="12"/>
          </p:nvPr>
        </p:nvSpPr>
        <p:spPr>
          <a:xfrm>
            <a:off x="3285283" y="5307852"/>
            <a:ext cx="5902510" cy="1581272"/>
          </a:xfrm>
          <a:custGeom>
            <a:avLst/>
            <a:gdLst>
              <a:gd name="connsiteX0" fmla="*/ 0 w 1295400"/>
              <a:gd name="connsiteY0" fmla="*/ 0 h 1295400"/>
              <a:gd name="connsiteX1" fmla="*/ 1295400 w 1295400"/>
              <a:gd name="connsiteY1" fmla="*/ 0 h 1295400"/>
              <a:gd name="connsiteX2" fmla="*/ 1295400 w 1295400"/>
              <a:gd name="connsiteY2" fmla="*/ 1295400 h 1295400"/>
              <a:gd name="connsiteX3" fmla="*/ 0 w 1295400"/>
              <a:gd name="connsiteY3" fmla="*/ 1295400 h 1295400"/>
              <a:gd name="connsiteX4" fmla="*/ 0 w 1295400"/>
              <a:gd name="connsiteY4" fmla="*/ 0 h 1295400"/>
              <a:gd name="connsiteX0" fmla="*/ 0 w 1295400"/>
              <a:gd name="connsiteY0" fmla="*/ 381000 h 1295400"/>
              <a:gd name="connsiteX1" fmla="*/ 1295400 w 1295400"/>
              <a:gd name="connsiteY1" fmla="*/ 0 h 1295400"/>
              <a:gd name="connsiteX2" fmla="*/ 1295400 w 1295400"/>
              <a:gd name="connsiteY2" fmla="*/ 1295400 h 1295400"/>
              <a:gd name="connsiteX3" fmla="*/ 0 w 1295400"/>
              <a:gd name="connsiteY3" fmla="*/ 1295400 h 1295400"/>
              <a:gd name="connsiteX4" fmla="*/ 0 w 1295400"/>
              <a:gd name="connsiteY4" fmla="*/ 381000 h 1295400"/>
              <a:gd name="connsiteX0" fmla="*/ 2646 w 1295400"/>
              <a:gd name="connsiteY0" fmla="*/ 575389 h 1295400"/>
              <a:gd name="connsiteX1" fmla="*/ 1295400 w 1295400"/>
              <a:gd name="connsiteY1" fmla="*/ 0 h 1295400"/>
              <a:gd name="connsiteX2" fmla="*/ 1295400 w 1295400"/>
              <a:gd name="connsiteY2" fmla="*/ 1295400 h 1295400"/>
              <a:gd name="connsiteX3" fmla="*/ 0 w 1295400"/>
              <a:gd name="connsiteY3" fmla="*/ 1295400 h 1295400"/>
              <a:gd name="connsiteX4" fmla="*/ 2646 w 1295400"/>
              <a:gd name="connsiteY4" fmla="*/ 575389 h 1295400"/>
              <a:gd name="connsiteX0" fmla="*/ 0 w 1299992"/>
              <a:gd name="connsiteY0" fmla="*/ 573663 h 1295400"/>
              <a:gd name="connsiteX1" fmla="*/ 1299992 w 1299992"/>
              <a:gd name="connsiteY1" fmla="*/ 0 h 1295400"/>
              <a:gd name="connsiteX2" fmla="*/ 1299992 w 1299992"/>
              <a:gd name="connsiteY2" fmla="*/ 1295400 h 1295400"/>
              <a:gd name="connsiteX3" fmla="*/ 4592 w 1299992"/>
              <a:gd name="connsiteY3" fmla="*/ 1295400 h 1295400"/>
              <a:gd name="connsiteX4" fmla="*/ 0 w 1299992"/>
              <a:gd name="connsiteY4" fmla="*/ 573663 h 1295400"/>
              <a:gd name="connsiteX0" fmla="*/ 45 w 1300037"/>
              <a:gd name="connsiteY0" fmla="*/ 573663 h 1295400"/>
              <a:gd name="connsiteX1" fmla="*/ 1300037 w 1300037"/>
              <a:gd name="connsiteY1" fmla="*/ 0 h 1295400"/>
              <a:gd name="connsiteX2" fmla="*/ 1300037 w 1300037"/>
              <a:gd name="connsiteY2" fmla="*/ 1295400 h 1295400"/>
              <a:gd name="connsiteX3" fmla="*/ 501 w 1300037"/>
              <a:gd name="connsiteY3" fmla="*/ 1291947 h 1295400"/>
              <a:gd name="connsiteX4" fmla="*/ 45 w 1300037"/>
              <a:gd name="connsiteY4" fmla="*/ 573663 h 1295400"/>
              <a:gd name="connsiteX0" fmla="*/ 45 w 1309343"/>
              <a:gd name="connsiteY0" fmla="*/ 573663 h 1291947"/>
              <a:gd name="connsiteX1" fmla="*/ 1300037 w 1309343"/>
              <a:gd name="connsiteY1" fmla="*/ 0 h 1291947"/>
              <a:gd name="connsiteX2" fmla="*/ 1309343 w 1309343"/>
              <a:gd name="connsiteY2" fmla="*/ 1291947 h 1291947"/>
              <a:gd name="connsiteX3" fmla="*/ 501 w 1309343"/>
              <a:gd name="connsiteY3" fmla="*/ 1291947 h 1291947"/>
              <a:gd name="connsiteX4" fmla="*/ 45 w 1309343"/>
              <a:gd name="connsiteY4" fmla="*/ 573663 h 1291947"/>
              <a:gd name="connsiteX0" fmla="*/ 45 w 1309343"/>
              <a:gd name="connsiteY0" fmla="*/ 580569 h 1298853"/>
              <a:gd name="connsiteX1" fmla="*/ 1306241 w 1309343"/>
              <a:gd name="connsiteY1" fmla="*/ 0 h 1298853"/>
              <a:gd name="connsiteX2" fmla="*/ 1309343 w 1309343"/>
              <a:gd name="connsiteY2" fmla="*/ 1298853 h 1298853"/>
              <a:gd name="connsiteX3" fmla="*/ 501 w 1309343"/>
              <a:gd name="connsiteY3" fmla="*/ 1298853 h 1298853"/>
              <a:gd name="connsiteX4" fmla="*/ 45 w 1309343"/>
              <a:gd name="connsiteY4" fmla="*/ 580569 h 1298853"/>
              <a:gd name="connsiteX0" fmla="*/ 5444 w 1314742"/>
              <a:gd name="connsiteY0" fmla="*/ 580569 h 1298853"/>
              <a:gd name="connsiteX1" fmla="*/ 1311640 w 1314742"/>
              <a:gd name="connsiteY1" fmla="*/ 0 h 1298853"/>
              <a:gd name="connsiteX2" fmla="*/ 1314742 w 1314742"/>
              <a:gd name="connsiteY2" fmla="*/ 1298853 h 1298853"/>
              <a:gd name="connsiteX3" fmla="*/ 189 w 1314742"/>
              <a:gd name="connsiteY3" fmla="*/ 674286 h 1298853"/>
              <a:gd name="connsiteX4" fmla="*/ 5444 w 1314742"/>
              <a:gd name="connsiteY4" fmla="*/ 580569 h 1298853"/>
              <a:gd name="connsiteX0" fmla="*/ 5255 w 1314553"/>
              <a:gd name="connsiteY0" fmla="*/ 580569 h 1298853"/>
              <a:gd name="connsiteX1" fmla="*/ 1311451 w 1314553"/>
              <a:gd name="connsiteY1" fmla="*/ 0 h 1298853"/>
              <a:gd name="connsiteX2" fmla="*/ 1314553 w 1314553"/>
              <a:gd name="connsiteY2" fmla="*/ 1298853 h 1298853"/>
              <a:gd name="connsiteX3" fmla="*/ 0 w 1314553"/>
              <a:gd name="connsiteY3" fmla="*/ 674286 h 1298853"/>
              <a:gd name="connsiteX4" fmla="*/ 5255 w 1314553"/>
              <a:gd name="connsiteY4" fmla="*/ 580569 h 1298853"/>
              <a:gd name="connsiteX0" fmla="*/ 5255 w 1311451"/>
              <a:gd name="connsiteY0" fmla="*/ 580569 h 705917"/>
              <a:gd name="connsiteX1" fmla="*/ 1311451 w 1311451"/>
              <a:gd name="connsiteY1" fmla="*/ 0 h 705917"/>
              <a:gd name="connsiteX2" fmla="*/ 1308842 w 1311451"/>
              <a:gd name="connsiteY2" fmla="*/ 688588 h 705917"/>
              <a:gd name="connsiteX3" fmla="*/ 0 w 1311451"/>
              <a:gd name="connsiteY3" fmla="*/ 674286 h 705917"/>
              <a:gd name="connsiteX4" fmla="*/ 5255 w 1311451"/>
              <a:gd name="connsiteY4" fmla="*/ 580569 h 705917"/>
              <a:gd name="connsiteX0" fmla="*/ 0 w 1306196"/>
              <a:gd name="connsiteY0" fmla="*/ 580569 h 711218"/>
              <a:gd name="connsiteX1" fmla="*/ 1306196 w 1306196"/>
              <a:gd name="connsiteY1" fmla="*/ 0 h 711218"/>
              <a:gd name="connsiteX2" fmla="*/ 1303587 w 1306196"/>
              <a:gd name="connsiteY2" fmla="*/ 688588 h 711218"/>
              <a:gd name="connsiteX3" fmla="*/ 281 w 1306196"/>
              <a:gd name="connsiteY3" fmla="*/ 688151 h 711218"/>
              <a:gd name="connsiteX4" fmla="*/ 0 w 1306196"/>
              <a:gd name="connsiteY4" fmla="*/ 580569 h 711218"/>
              <a:gd name="connsiteX0" fmla="*/ 21 w 1306217"/>
              <a:gd name="connsiteY0" fmla="*/ 580569 h 705501"/>
              <a:gd name="connsiteX1" fmla="*/ 1306217 w 1306217"/>
              <a:gd name="connsiteY1" fmla="*/ 0 h 705501"/>
              <a:gd name="connsiteX2" fmla="*/ 1303608 w 1306217"/>
              <a:gd name="connsiteY2" fmla="*/ 688588 h 705501"/>
              <a:gd name="connsiteX3" fmla="*/ 302 w 1306217"/>
              <a:gd name="connsiteY3" fmla="*/ 688151 h 705501"/>
              <a:gd name="connsiteX4" fmla="*/ 21 w 1306217"/>
              <a:gd name="connsiteY4" fmla="*/ 580569 h 705501"/>
              <a:gd name="connsiteX0" fmla="*/ 0 w 1306196"/>
              <a:gd name="connsiteY0" fmla="*/ 580569 h 688588"/>
              <a:gd name="connsiteX1" fmla="*/ 1306196 w 1306196"/>
              <a:gd name="connsiteY1" fmla="*/ 0 h 688588"/>
              <a:gd name="connsiteX2" fmla="*/ 1303587 w 1306196"/>
              <a:gd name="connsiteY2" fmla="*/ 688588 h 688588"/>
              <a:gd name="connsiteX3" fmla="*/ 281 w 1306196"/>
              <a:gd name="connsiteY3" fmla="*/ 688151 h 688588"/>
              <a:gd name="connsiteX4" fmla="*/ 0 w 1306196"/>
              <a:gd name="connsiteY4" fmla="*/ 580569 h 688588"/>
              <a:gd name="connsiteX0" fmla="*/ 0 w 1306196"/>
              <a:gd name="connsiteY0" fmla="*/ 580569 h 688151"/>
              <a:gd name="connsiteX1" fmla="*/ 1306196 w 1306196"/>
              <a:gd name="connsiteY1" fmla="*/ 0 h 688151"/>
              <a:gd name="connsiteX2" fmla="*/ 1287260 w 1306196"/>
              <a:gd name="connsiteY2" fmla="*/ 575636 h 688151"/>
              <a:gd name="connsiteX3" fmla="*/ 281 w 1306196"/>
              <a:gd name="connsiteY3" fmla="*/ 688151 h 688151"/>
              <a:gd name="connsiteX4" fmla="*/ 0 w 1306196"/>
              <a:gd name="connsiteY4" fmla="*/ 580569 h 688151"/>
              <a:gd name="connsiteX0" fmla="*/ 0 w 1306196"/>
              <a:gd name="connsiteY0" fmla="*/ 580569 h 580569"/>
              <a:gd name="connsiteX1" fmla="*/ 1306196 w 1306196"/>
              <a:gd name="connsiteY1" fmla="*/ 0 h 580569"/>
              <a:gd name="connsiteX2" fmla="*/ 1287260 w 1306196"/>
              <a:gd name="connsiteY2" fmla="*/ 575636 h 580569"/>
              <a:gd name="connsiteX3" fmla="*/ 0 w 1306196"/>
              <a:gd name="connsiteY3" fmla="*/ 580569 h 580569"/>
              <a:gd name="connsiteX0" fmla="*/ 0 w 1311767"/>
              <a:gd name="connsiteY0" fmla="*/ 586770 h 586770"/>
              <a:gd name="connsiteX1" fmla="*/ 1311767 w 1311767"/>
              <a:gd name="connsiteY1" fmla="*/ 0 h 586770"/>
              <a:gd name="connsiteX2" fmla="*/ 1292831 w 1311767"/>
              <a:gd name="connsiteY2" fmla="*/ 575636 h 586770"/>
              <a:gd name="connsiteX3" fmla="*/ 0 w 1311767"/>
              <a:gd name="connsiteY3" fmla="*/ 586770 h 586770"/>
              <a:gd name="connsiteX0" fmla="*/ 0 w 1311767"/>
              <a:gd name="connsiteY0" fmla="*/ 586770 h 586770"/>
              <a:gd name="connsiteX1" fmla="*/ 1311767 w 1311767"/>
              <a:gd name="connsiteY1" fmla="*/ 0 h 586770"/>
              <a:gd name="connsiteX2" fmla="*/ 1309544 w 1311767"/>
              <a:gd name="connsiteY2" fmla="*/ 584938 h 586770"/>
              <a:gd name="connsiteX3" fmla="*/ 0 w 1311767"/>
              <a:gd name="connsiteY3" fmla="*/ 586770 h 586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11767" h="586770">
                <a:moveTo>
                  <a:pt x="0" y="586770"/>
                </a:moveTo>
                <a:lnTo>
                  <a:pt x="1311767" y="0"/>
                </a:lnTo>
                <a:cubicBezTo>
                  <a:pt x="1310897" y="229529"/>
                  <a:pt x="1310414" y="355409"/>
                  <a:pt x="1309544" y="584938"/>
                </a:cubicBezTo>
                <a:lnTo>
                  <a:pt x="0" y="586770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lIns="91423" tIns="45711" rIns="91423" bIns="45711" anchor="b" anchorCtr="0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endParaRPr lang="es-ES" dirty="0"/>
          </a:p>
        </p:txBody>
      </p:sp>
      <p:sp>
        <p:nvSpPr>
          <p:cNvPr id="5" name="Marcador de texto 6"/>
          <p:cNvSpPr>
            <a:spLocks noGrp="1"/>
          </p:cNvSpPr>
          <p:nvPr>
            <p:ph type="body" sz="quarter" idx="13" hasCustomPrompt="1"/>
          </p:nvPr>
        </p:nvSpPr>
        <p:spPr>
          <a:xfrm>
            <a:off x="1466851" y="1098665"/>
            <a:ext cx="6411913" cy="298291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7200" b="0" i="0">
                <a:solidFill>
                  <a:schemeClr val="tx2"/>
                </a:solidFill>
                <a:latin typeface="Univers 45 Light"/>
                <a:cs typeface="Univers 45 Light"/>
              </a:defRPr>
            </a:lvl1pPr>
          </a:lstStyle>
          <a:p>
            <a:pPr lvl="0"/>
            <a:r>
              <a:rPr lang="es-ES_tradnl" dirty="0"/>
              <a:t>Título presentación</a:t>
            </a:r>
            <a:endParaRPr lang="es-ES" dirty="0"/>
          </a:p>
        </p:txBody>
      </p:sp>
      <p:sp>
        <p:nvSpPr>
          <p:cNvPr id="9" name="Marcador de texto vertical 8"/>
          <p:cNvSpPr>
            <a:spLocks noGrp="1"/>
          </p:cNvSpPr>
          <p:nvPr>
            <p:ph type="body" orient="vert" sz="quarter" idx="14" hasCustomPrompt="1"/>
          </p:nvPr>
        </p:nvSpPr>
        <p:spPr>
          <a:xfrm rot="10800000">
            <a:off x="207952" y="4578588"/>
            <a:ext cx="309563" cy="2062162"/>
          </a:xfrm>
          <a:prstGeom prst="rect">
            <a:avLst/>
          </a:prstGeom>
        </p:spPr>
        <p:txBody>
          <a:bodyPr vert="eaVert" lIns="91423" tIns="45711" rIns="91423" bIns="45711"/>
          <a:lstStyle>
            <a:lvl1pPr marL="0" indent="0">
              <a:buFontTx/>
              <a:buNone/>
              <a:defRPr sz="800" b="0" i="0">
                <a:latin typeface="Univers 45 Light"/>
                <a:cs typeface="Univers 45 Light"/>
              </a:defRPr>
            </a:lvl1pPr>
          </a:lstStyle>
          <a:p>
            <a:pPr lvl="0"/>
            <a:r>
              <a:rPr lang="es-ES_tradnl" dirty="0"/>
              <a:t>LUGAR Y FECHA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593887687"/>
      </p:ext>
    </p:extLst>
  </p:cSld>
  <p:clrMapOvr>
    <a:masterClrMapping/>
  </p:clrMapOvr>
  <p:transition spd="slow">
    <p:circl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34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5768" y="4328585"/>
            <a:ext cx="8414488" cy="1291167"/>
          </a:xfrm>
          <a:ln algn="ctr"/>
        </p:spPr>
        <p:txBody>
          <a:bodyPr lIns="85876" tIns="42938" rIns="85876" bIns="42938"/>
          <a:lstStyle>
            <a:lvl1pPr>
              <a:defRPr sz="1300">
                <a:solidFill>
                  <a:schemeClr val="tx2"/>
                </a:solidFill>
                <a:latin typeface="Lato" panose="020F0502020204030203" pitchFamily="34" charset="0"/>
                <a:cs typeface="Latha" panose="020B0604020202020204" pitchFamily="34" charset="0"/>
              </a:defRPr>
            </a:lvl1pPr>
          </a:lstStyle>
          <a:p>
            <a:r>
              <a:rPr lang="es-ES" noProof="0" dirty="0"/>
              <a:t>Haga clic para cambiar el estilo de título	</a:t>
            </a:r>
          </a:p>
        </p:txBody>
      </p:sp>
      <p:sp>
        <p:nvSpPr>
          <p:cNvPr id="12134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95768" y="5226657"/>
            <a:ext cx="8414488" cy="245113"/>
          </a:xfrm>
        </p:spPr>
        <p:txBody>
          <a:bodyPr/>
          <a:lstStyle>
            <a:lvl1pPr marL="0" indent="0">
              <a:buNone/>
              <a:defRPr sz="1100" b="1">
                <a:solidFill>
                  <a:schemeClr val="tx2"/>
                </a:solidFill>
                <a:latin typeface="Lato" panose="020F0502020204030203" pitchFamily="34" charset="0"/>
                <a:cs typeface="Latha" panose="020B0604020202020204" pitchFamily="34" charset="0"/>
              </a:defRPr>
            </a:lvl1pPr>
          </a:lstStyle>
          <a:p>
            <a:r>
              <a:rPr lang="es-ES" noProof="0" dirty="0"/>
              <a:t>Haga clic para modificar el estilo de subtítul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395767" y="5651500"/>
            <a:ext cx="2132419" cy="284238"/>
          </a:xfrm>
          <a:prstGeom prst="rect">
            <a:avLst/>
          </a:prstGeom>
        </p:spPr>
        <p:txBody>
          <a:bodyPr lIns="85892" tIns="42946" rIns="85892" bIns="42946"/>
          <a:lstStyle>
            <a:lvl1pPr defTabSz="914231">
              <a:defRPr sz="1100" b="0">
                <a:solidFill>
                  <a:schemeClr val="tx2"/>
                </a:solidFill>
                <a:latin typeface="Lato" panose="020F0502020204030203" pitchFamily="34" charset="0"/>
                <a:cs typeface="Latha" panose="020B0604020202020204" pitchFamily="34" charset="0"/>
              </a:defRPr>
            </a:lvl1pPr>
          </a:lstStyle>
          <a:p>
            <a:pPr>
              <a:defRPr/>
            </a:pPr>
            <a:endParaRPr lang="es-ES" dirty="0">
              <a:solidFill>
                <a:srgbClr val="1F497D"/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713075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p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4267460"/>
              </p:ext>
            </p:extLst>
          </p:nvPr>
        </p:nvGraphicFramePr>
        <p:xfrm>
          <a:off x="1479" y="1514"/>
          <a:ext cx="1476" cy="15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4"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9" y="1514"/>
                        <a:ext cx="1476" cy="151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112233" y="84042"/>
            <a:ext cx="7720040" cy="342857"/>
          </a:xfrm>
        </p:spPr>
        <p:txBody>
          <a:bodyPr/>
          <a:lstStyle/>
          <a:p>
            <a:r>
              <a:rPr lang="es-ES" dirty="0"/>
              <a:t>Haga clic para modificar el estilo de título del patrón</a:t>
            </a:r>
          </a:p>
        </p:txBody>
      </p:sp>
      <p:sp>
        <p:nvSpPr>
          <p:cNvPr id="8" name="2 Marcador de contenido"/>
          <p:cNvSpPr>
            <a:spLocks noGrp="1"/>
          </p:cNvSpPr>
          <p:nvPr>
            <p:ph idx="10"/>
          </p:nvPr>
        </p:nvSpPr>
        <p:spPr>
          <a:xfrm>
            <a:off x="224466" y="636361"/>
            <a:ext cx="8683257" cy="523578"/>
          </a:xfrm>
          <a:noFill/>
          <a:ln>
            <a:noFill/>
          </a:ln>
        </p:spPr>
        <p:txBody>
          <a:bodyPr vert="horz" wrap="square" lIns="0" tIns="33815" rIns="0" bIns="33815" numCol="1" anchor="t" anchorCtr="0" compatLnSpc="1">
            <a:prstTxWarp prst="textNoShape">
              <a:avLst/>
            </a:prstTxWarp>
            <a:spAutoFit/>
          </a:bodyPr>
          <a:lstStyle>
            <a:lvl1pPr marL="334024" indent="-334024">
              <a:spcBef>
                <a:spcPts val="1126"/>
              </a:spcBef>
              <a:spcAft>
                <a:spcPts val="0"/>
              </a:spcAft>
              <a:buFont typeface="Wingdings" pitchFamily="2" charset="2"/>
              <a:buChar char="q"/>
              <a:defRPr lang="es-ES" noProof="0" dirty="0" smtClean="0"/>
            </a:lvl1pPr>
            <a:lvl2pPr marL="1348027" indent="-1183998">
              <a:spcBef>
                <a:spcPts val="1126"/>
              </a:spcBef>
              <a:spcAft>
                <a:spcPts val="0"/>
              </a:spcAft>
              <a:defRPr lang="es-ES" noProof="0" dirty="0" smtClean="0"/>
            </a:lvl2pPr>
          </a:lstStyle>
          <a:p>
            <a:pPr lvl="0">
              <a:spcBef>
                <a:spcPts val="0"/>
              </a:spcBef>
              <a:spcAft>
                <a:spcPts val="564"/>
              </a:spcAft>
            </a:pPr>
            <a:r>
              <a:rPr lang="es-ES" noProof="0" dirty="0"/>
              <a:t>Haga clic para modificar el estilo de texto del patrón</a:t>
            </a:r>
          </a:p>
          <a:p>
            <a:pPr marL="335516" lvl="1" indent="-171486">
              <a:spcBef>
                <a:spcPts val="0"/>
              </a:spcBef>
              <a:spcAft>
                <a:spcPts val="564"/>
              </a:spcAft>
              <a:buClrTx/>
            </a:pPr>
            <a:r>
              <a:rPr lang="es-ES" noProof="0" dirty="0"/>
              <a:t>Segundo nivel</a:t>
            </a:r>
          </a:p>
        </p:txBody>
      </p:sp>
    </p:spTree>
    <p:extLst>
      <p:ext uri="{BB962C8B-B14F-4D97-AF65-F5344CB8AC3E}">
        <p14:creationId xmlns:p14="http://schemas.microsoft.com/office/powerpoint/2010/main" val="17260434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9962983"/>
              </p:ext>
            </p:extLst>
          </p:nvPr>
        </p:nvGraphicFramePr>
        <p:xfrm>
          <a:off x="1479" y="1514"/>
          <a:ext cx="1476" cy="15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8"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9" y="1514"/>
                        <a:ext cx="1476" cy="151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0"/>
          </p:nvPr>
        </p:nvSpPr>
        <p:spPr>
          <a:xfrm>
            <a:off x="295350" y="721027"/>
            <a:ext cx="8541488" cy="523578"/>
          </a:xfrm>
          <a:noFill/>
          <a:ln>
            <a:noFill/>
          </a:ln>
        </p:spPr>
        <p:txBody>
          <a:bodyPr vert="horz" wrap="square" lIns="0" tIns="33815" rIns="0" bIns="33815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s-ES" noProof="0" dirty="0" smtClean="0"/>
            </a:lvl1pPr>
            <a:lvl2pPr>
              <a:defRPr lang="es-ES" noProof="0" dirty="0" smtClean="0"/>
            </a:lvl2pPr>
          </a:lstStyle>
          <a:p>
            <a:pPr lvl="0">
              <a:spcBef>
                <a:spcPts val="0"/>
              </a:spcBef>
              <a:spcAft>
                <a:spcPts val="564"/>
              </a:spcAft>
            </a:pPr>
            <a:r>
              <a:rPr lang="es-ES" noProof="0" dirty="0"/>
              <a:t>Haga clic para modificar el estilo de texto del patrón</a:t>
            </a:r>
          </a:p>
          <a:p>
            <a:pPr marL="335516" lvl="1" indent="-171486">
              <a:spcBef>
                <a:spcPts val="0"/>
              </a:spcBef>
              <a:spcAft>
                <a:spcPts val="564"/>
              </a:spcAft>
              <a:buClrTx/>
            </a:pPr>
            <a:r>
              <a:rPr lang="es-ES" noProof="0" dirty="0"/>
              <a:t>Segundo nivel</a:t>
            </a:r>
          </a:p>
        </p:txBody>
      </p:sp>
    </p:spTree>
    <p:extLst>
      <p:ext uri="{BB962C8B-B14F-4D97-AF65-F5344CB8AC3E}">
        <p14:creationId xmlns:p14="http://schemas.microsoft.com/office/powerpoint/2010/main" val="31938438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34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5768" y="4328584"/>
            <a:ext cx="8414488" cy="1291167"/>
          </a:xfrm>
          <a:ln algn="ctr"/>
        </p:spPr>
        <p:txBody>
          <a:bodyPr lIns="85892" tIns="42946" rIns="85892" bIns="42946"/>
          <a:lstStyle>
            <a:lvl1pPr>
              <a:defRPr sz="1300">
                <a:solidFill>
                  <a:schemeClr val="tx2"/>
                </a:solidFill>
                <a:latin typeface="Lato" panose="020F0502020204030203" pitchFamily="34" charset="0"/>
                <a:cs typeface="Latha" panose="020B0604020202020204" pitchFamily="34" charset="0"/>
              </a:defRPr>
            </a:lvl1pPr>
          </a:lstStyle>
          <a:p>
            <a:r>
              <a:rPr lang="es-ES" noProof="0" dirty="0"/>
              <a:t>Haga clic para cambiar el estilo de título	</a:t>
            </a:r>
          </a:p>
        </p:txBody>
      </p:sp>
      <p:sp>
        <p:nvSpPr>
          <p:cNvPr id="12134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95768" y="5226656"/>
            <a:ext cx="8414488" cy="245113"/>
          </a:xfrm>
        </p:spPr>
        <p:txBody>
          <a:bodyPr/>
          <a:lstStyle>
            <a:lvl1pPr marL="0" indent="0">
              <a:buNone/>
              <a:defRPr sz="1100" b="1">
                <a:solidFill>
                  <a:schemeClr val="tx2"/>
                </a:solidFill>
                <a:latin typeface="Lato" panose="020F0502020204030203" pitchFamily="34" charset="0"/>
                <a:cs typeface="Latha" panose="020B0604020202020204" pitchFamily="34" charset="0"/>
              </a:defRPr>
            </a:lvl1pPr>
          </a:lstStyle>
          <a:p>
            <a:r>
              <a:rPr lang="es-ES" noProof="0" dirty="0"/>
              <a:t>Haga clic para modificar el estilo de subtítul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395767" y="5651500"/>
            <a:ext cx="2132419" cy="284238"/>
          </a:xfrm>
          <a:prstGeom prst="rect">
            <a:avLst/>
          </a:prstGeom>
        </p:spPr>
        <p:txBody>
          <a:bodyPr lIns="85908" tIns="42954" rIns="85908" bIns="42954"/>
          <a:lstStyle>
            <a:lvl1pPr>
              <a:defRPr sz="1100" b="0">
                <a:solidFill>
                  <a:schemeClr val="tx2"/>
                </a:solidFill>
                <a:latin typeface="Lato" panose="020F0502020204030203" pitchFamily="34" charset="0"/>
                <a:cs typeface="Latha" panose="020B0604020202020204" pitchFamily="34" charset="0"/>
              </a:defRPr>
            </a:lvl1pPr>
          </a:lstStyle>
          <a:p>
            <a:pPr defTabSz="914400">
              <a:defRPr/>
            </a:pPr>
            <a:endParaRPr lang="es-ES" dirty="0">
              <a:solidFill>
                <a:srgbClr val="1F497D"/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713075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p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4267460"/>
              </p:ext>
            </p:extLst>
          </p:nvPr>
        </p:nvGraphicFramePr>
        <p:xfrm>
          <a:off x="1478" y="1513"/>
          <a:ext cx="1476" cy="15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0"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8" y="1513"/>
                        <a:ext cx="1476" cy="151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112233" y="84041"/>
            <a:ext cx="7720040" cy="342857"/>
          </a:xfrm>
        </p:spPr>
        <p:txBody>
          <a:bodyPr/>
          <a:lstStyle/>
          <a:p>
            <a:r>
              <a:rPr lang="es-ES" dirty="0"/>
              <a:t>Haga clic para modificar el estilo de título del patrón</a:t>
            </a:r>
          </a:p>
        </p:txBody>
      </p:sp>
      <p:sp>
        <p:nvSpPr>
          <p:cNvPr id="8" name="2 Marcador de contenido"/>
          <p:cNvSpPr>
            <a:spLocks noGrp="1"/>
          </p:cNvSpPr>
          <p:nvPr>
            <p:ph idx="10"/>
          </p:nvPr>
        </p:nvSpPr>
        <p:spPr>
          <a:xfrm>
            <a:off x="224465" y="636361"/>
            <a:ext cx="8683257" cy="523578"/>
          </a:xfrm>
          <a:noFill/>
          <a:ln>
            <a:noFill/>
          </a:ln>
        </p:spPr>
        <p:txBody>
          <a:bodyPr vert="horz" wrap="square" lIns="0" tIns="33822" rIns="0" bIns="33822" numCol="1" anchor="t" anchorCtr="0" compatLnSpc="1">
            <a:prstTxWarp prst="textNoShape">
              <a:avLst/>
            </a:prstTxWarp>
            <a:spAutoFit/>
          </a:bodyPr>
          <a:lstStyle>
            <a:lvl1pPr marL="334086" indent="-334086">
              <a:spcBef>
                <a:spcPts val="1127"/>
              </a:spcBef>
              <a:spcAft>
                <a:spcPts val="0"/>
              </a:spcAft>
              <a:buFont typeface="Wingdings" pitchFamily="2" charset="2"/>
              <a:buChar char="q"/>
              <a:defRPr lang="es-ES" noProof="0" dirty="0" smtClean="0"/>
            </a:lvl1pPr>
            <a:lvl2pPr marL="1348276" indent="-1184216">
              <a:spcBef>
                <a:spcPts val="1127"/>
              </a:spcBef>
              <a:spcAft>
                <a:spcPts val="0"/>
              </a:spcAft>
              <a:defRPr lang="es-ES" noProof="0" dirty="0" smtClean="0"/>
            </a:lvl2pPr>
          </a:lstStyle>
          <a:p>
            <a:pPr lvl="0">
              <a:spcBef>
                <a:spcPts val="0"/>
              </a:spcBef>
              <a:spcAft>
                <a:spcPts val="564"/>
              </a:spcAft>
            </a:pPr>
            <a:r>
              <a:rPr lang="es-ES" noProof="0" dirty="0"/>
              <a:t>Haga clic para modificar el estilo de texto del patrón</a:t>
            </a:r>
          </a:p>
          <a:p>
            <a:pPr marL="335578" lvl="1" indent="-171518">
              <a:spcBef>
                <a:spcPts val="0"/>
              </a:spcBef>
              <a:spcAft>
                <a:spcPts val="564"/>
              </a:spcAft>
              <a:buClrTx/>
            </a:pPr>
            <a:r>
              <a:rPr lang="es-ES" noProof="0" dirty="0"/>
              <a:t>Segundo nivel</a:t>
            </a:r>
          </a:p>
        </p:txBody>
      </p:sp>
    </p:spTree>
    <p:extLst>
      <p:ext uri="{BB962C8B-B14F-4D97-AF65-F5344CB8AC3E}">
        <p14:creationId xmlns:p14="http://schemas.microsoft.com/office/powerpoint/2010/main" val="17260434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9962983"/>
              </p:ext>
            </p:extLst>
          </p:nvPr>
        </p:nvGraphicFramePr>
        <p:xfrm>
          <a:off x="1478" y="1513"/>
          <a:ext cx="1476" cy="15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4" name="Diapositiva de think-cell" r:id="rId4" imgW="360" imgH="360" progId="">
                  <p:embed/>
                </p:oleObj>
              </mc:Choice>
              <mc:Fallback>
                <p:oleObj name="Diapositiva de think-cell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8" y="1513"/>
                        <a:ext cx="1476" cy="151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0"/>
          </p:nvPr>
        </p:nvSpPr>
        <p:spPr>
          <a:xfrm>
            <a:off x="295350" y="721027"/>
            <a:ext cx="8541488" cy="523578"/>
          </a:xfrm>
          <a:noFill/>
          <a:ln>
            <a:noFill/>
          </a:ln>
        </p:spPr>
        <p:txBody>
          <a:bodyPr vert="horz" wrap="square" lIns="0" tIns="33822" rIns="0" bIns="33822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s-ES" noProof="0" dirty="0" smtClean="0"/>
            </a:lvl1pPr>
            <a:lvl2pPr>
              <a:defRPr lang="es-ES" noProof="0" dirty="0" smtClean="0"/>
            </a:lvl2pPr>
          </a:lstStyle>
          <a:p>
            <a:pPr lvl="0">
              <a:spcBef>
                <a:spcPts val="0"/>
              </a:spcBef>
              <a:spcAft>
                <a:spcPts val="564"/>
              </a:spcAft>
            </a:pPr>
            <a:r>
              <a:rPr lang="es-ES" noProof="0" dirty="0"/>
              <a:t>Haga clic para modificar el estilo de texto del patrón</a:t>
            </a:r>
          </a:p>
          <a:p>
            <a:pPr marL="335578" lvl="1" indent="-171518">
              <a:spcBef>
                <a:spcPts val="0"/>
              </a:spcBef>
              <a:spcAft>
                <a:spcPts val="564"/>
              </a:spcAft>
              <a:buClrTx/>
            </a:pPr>
            <a:r>
              <a:rPr lang="es-ES" noProof="0" dirty="0"/>
              <a:t>Segundo nivel</a:t>
            </a:r>
          </a:p>
        </p:txBody>
      </p:sp>
    </p:spTree>
    <p:extLst>
      <p:ext uri="{BB962C8B-B14F-4D97-AF65-F5344CB8AC3E}">
        <p14:creationId xmlns:p14="http://schemas.microsoft.com/office/powerpoint/2010/main" val="31938438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 userDrawn="1"/>
        </p:nvSpPr>
        <p:spPr>
          <a:xfrm>
            <a:off x="-24581" y="6776066"/>
            <a:ext cx="9168582" cy="8193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3" tIns="45711" rIns="91423" bIns="45711" rtlCol="0" anchor="ctr"/>
          <a:lstStyle/>
          <a:p>
            <a:pPr algn="ctr"/>
            <a:endParaRPr lang="es-ES"/>
          </a:p>
        </p:txBody>
      </p:sp>
      <p:sp>
        <p:nvSpPr>
          <p:cNvPr id="5" name="Forma libre 4"/>
          <p:cNvSpPr/>
          <p:nvPr userDrawn="1"/>
        </p:nvSpPr>
        <p:spPr>
          <a:xfrm>
            <a:off x="-24582" y="-32774"/>
            <a:ext cx="9185756" cy="1302774"/>
          </a:xfrm>
          <a:custGeom>
            <a:avLst/>
            <a:gdLst>
              <a:gd name="connsiteX0" fmla="*/ 1220839 w 9193162"/>
              <a:gd name="connsiteY0" fmla="*/ 901290 h 1351935"/>
              <a:gd name="connsiteX1" fmla="*/ 9193162 w 9193162"/>
              <a:gd name="connsiteY1" fmla="*/ 901290 h 1351935"/>
              <a:gd name="connsiteX2" fmla="*/ 9184968 w 9193162"/>
              <a:gd name="connsiteY2" fmla="*/ 0 h 1351935"/>
              <a:gd name="connsiteX3" fmla="*/ 0 w 9193162"/>
              <a:gd name="connsiteY3" fmla="*/ 16387 h 1351935"/>
              <a:gd name="connsiteX4" fmla="*/ 0 w 9193162"/>
              <a:gd name="connsiteY4" fmla="*/ 1351935 h 1351935"/>
              <a:gd name="connsiteX5" fmla="*/ 1220839 w 9193162"/>
              <a:gd name="connsiteY5" fmla="*/ 901290 h 1351935"/>
              <a:gd name="connsiteX0" fmla="*/ 1229033 w 9193162"/>
              <a:gd name="connsiteY0" fmla="*/ 802967 h 1351935"/>
              <a:gd name="connsiteX1" fmla="*/ 9193162 w 9193162"/>
              <a:gd name="connsiteY1" fmla="*/ 901290 h 1351935"/>
              <a:gd name="connsiteX2" fmla="*/ 9184968 w 9193162"/>
              <a:gd name="connsiteY2" fmla="*/ 0 h 1351935"/>
              <a:gd name="connsiteX3" fmla="*/ 0 w 9193162"/>
              <a:gd name="connsiteY3" fmla="*/ 16387 h 1351935"/>
              <a:gd name="connsiteX4" fmla="*/ 0 w 9193162"/>
              <a:gd name="connsiteY4" fmla="*/ 1351935 h 1351935"/>
              <a:gd name="connsiteX5" fmla="*/ 1229033 w 9193162"/>
              <a:gd name="connsiteY5" fmla="*/ 802967 h 1351935"/>
              <a:gd name="connsiteX0" fmla="*/ 1229033 w 9185083"/>
              <a:gd name="connsiteY0" fmla="*/ 802967 h 1351935"/>
              <a:gd name="connsiteX1" fmla="*/ 9144000 w 9185083"/>
              <a:gd name="connsiteY1" fmla="*/ 745613 h 1351935"/>
              <a:gd name="connsiteX2" fmla="*/ 9184968 w 9185083"/>
              <a:gd name="connsiteY2" fmla="*/ 0 h 1351935"/>
              <a:gd name="connsiteX3" fmla="*/ 0 w 9185083"/>
              <a:gd name="connsiteY3" fmla="*/ 16387 h 1351935"/>
              <a:gd name="connsiteX4" fmla="*/ 0 w 9185083"/>
              <a:gd name="connsiteY4" fmla="*/ 1351935 h 1351935"/>
              <a:gd name="connsiteX5" fmla="*/ 1229033 w 9185083"/>
              <a:gd name="connsiteY5" fmla="*/ 802967 h 1351935"/>
              <a:gd name="connsiteX0" fmla="*/ 1229033 w 9201355"/>
              <a:gd name="connsiteY0" fmla="*/ 802967 h 1351935"/>
              <a:gd name="connsiteX1" fmla="*/ 9201355 w 9201355"/>
              <a:gd name="connsiteY1" fmla="*/ 778387 h 1351935"/>
              <a:gd name="connsiteX2" fmla="*/ 9184968 w 9201355"/>
              <a:gd name="connsiteY2" fmla="*/ 0 h 1351935"/>
              <a:gd name="connsiteX3" fmla="*/ 0 w 9201355"/>
              <a:gd name="connsiteY3" fmla="*/ 16387 h 1351935"/>
              <a:gd name="connsiteX4" fmla="*/ 0 w 9201355"/>
              <a:gd name="connsiteY4" fmla="*/ 1351935 h 1351935"/>
              <a:gd name="connsiteX5" fmla="*/ 1229033 w 9201355"/>
              <a:gd name="connsiteY5" fmla="*/ 802967 h 1351935"/>
              <a:gd name="connsiteX0" fmla="*/ 1229033 w 9193162"/>
              <a:gd name="connsiteY0" fmla="*/ 802967 h 1351935"/>
              <a:gd name="connsiteX1" fmla="*/ 9193162 w 9193162"/>
              <a:gd name="connsiteY1" fmla="*/ 811162 h 1351935"/>
              <a:gd name="connsiteX2" fmla="*/ 9184968 w 9193162"/>
              <a:gd name="connsiteY2" fmla="*/ 0 h 1351935"/>
              <a:gd name="connsiteX3" fmla="*/ 0 w 9193162"/>
              <a:gd name="connsiteY3" fmla="*/ 16387 h 1351935"/>
              <a:gd name="connsiteX4" fmla="*/ 0 w 9193162"/>
              <a:gd name="connsiteY4" fmla="*/ 1351935 h 1351935"/>
              <a:gd name="connsiteX5" fmla="*/ 1229033 w 9193162"/>
              <a:gd name="connsiteY5" fmla="*/ 802967 h 1351935"/>
              <a:gd name="connsiteX0" fmla="*/ 1229033 w 9185756"/>
              <a:gd name="connsiteY0" fmla="*/ 802967 h 1351935"/>
              <a:gd name="connsiteX1" fmla="*/ 9184969 w 9185756"/>
              <a:gd name="connsiteY1" fmla="*/ 786581 h 1351935"/>
              <a:gd name="connsiteX2" fmla="*/ 9184968 w 9185756"/>
              <a:gd name="connsiteY2" fmla="*/ 0 h 1351935"/>
              <a:gd name="connsiteX3" fmla="*/ 0 w 9185756"/>
              <a:gd name="connsiteY3" fmla="*/ 16387 h 1351935"/>
              <a:gd name="connsiteX4" fmla="*/ 0 w 9185756"/>
              <a:gd name="connsiteY4" fmla="*/ 1351935 h 1351935"/>
              <a:gd name="connsiteX5" fmla="*/ 1229033 w 9185756"/>
              <a:gd name="connsiteY5" fmla="*/ 802967 h 1351935"/>
              <a:gd name="connsiteX0" fmla="*/ 1229033 w 9185756"/>
              <a:gd name="connsiteY0" fmla="*/ 802967 h 1302774"/>
              <a:gd name="connsiteX1" fmla="*/ 9184969 w 9185756"/>
              <a:gd name="connsiteY1" fmla="*/ 786581 h 1302774"/>
              <a:gd name="connsiteX2" fmla="*/ 9184968 w 9185756"/>
              <a:gd name="connsiteY2" fmla="*/ 0 h 1302774"/>
              <a:gd name="connsiteX3" fmla="*/ 0 w 9185756"/>
              <a:gd name="connsiteY3" fmla="*/ 16387 h 1302774"/>
              <a:gd name="connsiteX4" fmla="*/ 8194 w 9185756"/>
              <a:gd name="connsiteY4" fmla="*/ 1302774 h 1302774"/>
              <a:gd name="connsiteX5" fmla="*/ 1229033 w 9185756"/>
              <a:gd name="connsiteY5" fmla="*/ 802967 h 1302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85756" h="1302774">
                <a:moveTo>
                  <a:pt x="1229033" y="802967"/>
                </a:moveTo>
                <a:lnTo>
                  <a:pt x="9184969" y="786581"/>
                </a:lnTo>
                <a:cubicBezTo>
                  <a:pt x="9182238" y="486151"/>
                  <a:pt x="9187699" y="300430"/>
                  <a:pt x="9184968" y="0"/>
                </a:cubicBezTo>
                <a:lnTo>
                  <a:pt x="0" y="16387"/>
                </a:lnTo>
                <a:cubicBezTo>
                  <a:pt x="2731" y="445183"/>
                  <a:pt x="5463" y="873978"/>
                  <a:pt x="8194" y="1302774"/>
                </a:cubicBezTo>
                <a:lnTo>
                  <a:pt x="1229033" y="802967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3" tIns="45711" rIns="91423" bIns="45711" rtlCol="0" anchor="ctr"/>
          <a:lstStyle/>
          <a:p>
            <a:pPr algn="ctr"/>
            <a:endParaRPr lang="es-ES"/>
          </a:p>
        </p:txBody>
      </p:sp>
      <p:sp>
        <p:nvSpPr>
          <p:cNvPr id="9" name="Marcador de texto 2"/>
          <p:cNvSpPr>
            <a:spLocks noGrp="1"/>
          </p:cNvSpPr>
          <p:nvPr>
            <p:ph type="body" sz="quarter" idx="15" hasCustomPrompt="1"/>
          </p:nvPr>
        </p:nvSpPr>
        <p:spPr>
          <a:xfrm>
            <a:off x="1636713" y="1326445"/>
            <a:ext cx="7167691" cy="52775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2400" b="0" i="0" spc="0">
                <a:solidFill>
                  <a:schemeClr val="tx1">
                    <a:lumMod val="75000"/>
                    <a:lumOff val="25000"/>
                  </a:schemeClr>
                </a:solidFill>
                <a:latin typeface="Univers 45 Light"/>
                <a:cs typeface="Univers 45 Light"/>
              </a:defRPr>
            </a:lvl1pPr>
            <a:lvl2pPr marL="1371348" indent="0">
              <a:spcBef>
                <a:spcPts val="700"/>
              </a:spcBef>
              <a:buFontTx/>
              <a:buNone/>
              <a:defRPr sz="1800" b="0" i="0">
                <a:latin typeface="Univers 45 Light"/>
                <a:cs typeface="Univers 45 Light"/>
              </a:defRPr>
            </a:lvl2pPr>
          </a:lstStyle>
          <a:p>
            <a:pPr lvl="0"/>
            <a:r>
              <a:rPr lang="es-ES_tradnl" dirty="0"/>
              <a:t>Escriba el texto</a:t>
            </a:r>
          </a:p>
          <a:p>
            <a:pPr lvl="1"/>
            <a:r>
              <a:rPr lang="es-ES_tradnl" dirty="0"/>
              <a:t>Segundo nivel</a:t>
            </a:r>
          </a:p>
        </p:txBody>
      </p:sp>
      <p:pic>
        <p:nvPicPr>
          <p:cNvPr id="6" name="Imagen 10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4478" y="221277"/>
            <a:ext cx="564802" cy="438378"/>
          </a:xfrm>
          <a:prstGeom prst="rect">
            <a:avLst/>
          </a:prstGeom>
        </p:spPr>
      </p:pic>
      <p:pic>
        <p:nvPicPr>
          <p:cNvPr id="8" name="Imagen 15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726" y="204965"/>
            <a:ext cx="1306612" cy="480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477967"/>
      </p:ext>
    </p:extLst>
  </p:cSld>
  <p:clrMapOvr>
    <a:masterClrMapping/>
  </p:clrMapOvr>
  <p:transition spd="slow">
    <p:circl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posición de imagen 2"/>
          <p:cNvSpPr>
            <a:spLocks noGrp="1"/>
          </p:cNvSpPr>
          <p:nvPr>
            <p:ph type="pic" sz="quarter" idx="12"/>
          </p:nvPr>
        </p:nvSpPr>
        <p:spPr>
          <a:xfrm>
            <a:off x="-32415" y="3975976"/>
            <a:ext cx="9220209" cy="2911056"/>
          </a:xfrm>
          <a:custGeom>
            <a:avLst/>
            <a:gdLst>
              <a:gd name="connsiteX0" fmla="*/ 0 w 1295400"/>
              <a:gd name="connsiteY0" fmla="*/ 0 h 1295400"/>
              <a:gd name="connsiteX1" fmla="*/ 1295400 w 1295400"/>
              <a:gd name="connsiteY1" fmla="*/ 0 h 1295400"/>
              <a:gd name="connsiteX2" fmla="*/ 1295400 w 1295400"/>
              <a:gd name="connsiteY2" fmla="*/ 1295400 h 1295400"/>
              <a:gd name="connsiteX3" fmla="*/ 0 w 1295400"/>
              <a:gd name="connsiteY3" fmla="*/ 1295400 h 1295400"/>
              <a:gd name="connsiteX4" fmla="*/ 0 w 1295400"/>
              <a:gd name="connsiteY4" fmla="*/ 0 h 1295400"/>
              <a:gd name="connsiteX0" fmla="*/ 0 w 1295400"/>
              <a:gd name="connsiteY0" fmla="*/ 381000 h 1295400"/>
              <a:gd name="connsiteX1" fmla="*/ 1295400 w 1295400"/>
              <a:gd name="connsiteY1" fmla="*/ 0 h 1295400"/>
              <a:gd name="connsiteX2" fmla="*/ 1295400 w 1295400"/>
              <a:gd name="connsiteY2" fmla="*/ 1295400 h 1295400"/>
              <a:gd name="connsiteX3" fmla="*/ 0 w 1295400"/>
              <a:gd name="connsiteY3" fmla="*/ 1295400 h 1295400"/>
              <a:gd name="connsiteX4" fmla="*/ 0 w 1295400"/>
              <a:gd name="connsiteY4" fmla="*/ 381000 h 1295400"/>
              <a:gd name="connsiteX0" fmla="*/ 2646 w 1295400"/>
              <a:gd name="connsiteY0" fmla="*/ 575389 h 1295400"/>
              <a:gd name="connsiteX1" fmla="*/ 1295400 w 1295400"/>
              <a:gd name="connsiteY1" fmla="*/ 0 h 1295400"/>
              <a:gd name="connsiteX2" fmla="*/ 1295400 w 1295400"/>
              <a:gd name="connsiteY2" fmla="*/ 1295400 h 1295400"/>
              <a:gd name="connsiteX3" fmla="*/ 0 w 1295400"/>
              <a:gd name="connsiteY3" fmla="*/ 1295400 h 1295400"/>
              <a:gd name="connsiteX4" fmla="*/ 2646 w 1295400"/>
              <a:gd name="connsiteY4" fmla="*/ 575389 h 1295400"/>
              <a:gd name="connsiteX0" fmla="*/ 0 w 1299992"/>
              <a:gd name="connsiteY0" fmla="*/ 573663 h 1295400"/>
              <a:gd name="connsiteX1" fmla="*/ 1299992 w 1299992"/>
              <a:gd name="connsiteY1" fmla="*/ 0 h 1295400"/>
              <a:gd name="connsiteX2" fmla="*/ 1299992 w 1299992"/>
              <a:gd name="connsiteY2" fmla="*/ 1295400 h 1295400"/>
              <a:gd name="connsiteX3" fmla="*/ 4592 w 1299992"/>
              <a:gd name="connsiteY3" fmla="*/ 1295400 h 1295400"/>
              <a:gd name="connsiteX4" fmla="*/ 0 w 1299992"/>
              <a:gd name="connsiteY4" fmla="*/ 573663 h 1295400"/>
              <a:gd name="connsiteX0" fmla="*/ 45 w 1300037"/>
              <a:gd name="connsiteY0" fmla="*/ 573663 h 1295400"/>
              <a:gd name="connsiteX1" fmla="*/ 1300037 w 1300037"/>
              <a:gd name="connsiteY1" fmla="*/ 0 h 1295400"/>
              <a:gd name="connsiteX2" fmla="*/ 1300037 w 1300037"/>
              <a:gd name="connsiteY2" fmla="*/ 1295400 h 1295400"/>
              <a:gd name="connsiteX3" fmla="*/ 501 w 1300037"/>
              <a:gd name="connsiteY3" fmla="*/ 1291947 h 1295400"/>
              <a:gd name="connsiteX4" fmla="*/ 45 w 1300037"/>
              <a:gd name="connsiteY4" fmla="*/ 573663 h 1295400"/>
              <a:gd name="connsiteX0" fmla="*/ 45 w 1309343"/>
              <a:gd name="connsiteY0" fmla="*/ 573663 h 1291947"/>
              <a:gd name="connsiteX1" fmla="*/ 1300037 w 1309343"/>
              <a:gd name="connsiteY1" fmla="*/ 0 h 1291947"/>
              <a:gd name="connsiteX2" fmla="*/ 1309343 w 1309343"/>
              <a:gd name="connsiteY2" fmla="*/ 1291947 h 1291947"/>
              <a:gd name="connsiteX3" fmla="*/ 501 w 1309343"/>
              <a:gd name="connsiteY3" fmla="*/ 1291947 h 1291947"/>
              <a:gd name="connsiteX4" fmla="*/ 45 w 1309343"/>
              <a:gd name="connsiteY4" fmla="*/ 573663 h 1291947"/>
              <a:gd name="connsiteX0" fmla="*/ 45 w 1309343"/>
              <a:gd name="connsiteY0" fmla="*/ 580569 h 1298853"/>
              <a:gd name="connsiteX1" fmla="*/ 1306241 w 1309343"/>
              <a:gd name="connsiteY1" fmla="*/ 0 h 1298853"/>
              <a:gd name="connsiteX2" fmla="*/ 1309343 w 1309343"/>
              <a:gd name="connsiteY2" fmla="*/ 1298853 h 1298853"/>
              <a:gd name="connsiteX3" fmla="*/ 501 w 1309343"/>
              <a:gd name="connsiteY3" fmla="*/ 1298853 h 1298853"/>
              <a:gd name="connsiteX4" fmla="*/ 45 w 1309343"/>
              <a:gd name="connsiteY4" fmla="*/ 580569 h 1298853"/>
              <a:gd name="connsiteX0" fmla="*/ 5444 w 1314742"/>
              <a:gd name="connsiteY0" fmla="*/ 580569 h 1298853"/>
              <a:gd name="connsiteX1" fmla="*/ 1311640 w 1314742"/>
              <a:gd name="connsiteY1" fmla="*/ 0 h 1298853"/>
              <a:gd name="connsiteX2" fmla="*/ 1314742 w 1314742"/>
              <a:gd name="connsiteY2" fmla="*/ 1298853 h 1298853"/>
              <a:gd name="connsiteX3" fmla="*/ 189 w 1314742"/>
              <a:gd name="connsiteY3" fmla="*/ 674286 h 1298853"/>
              <a:gd name="connsiteX4" fmla="*/ 5444 w 1314742"/>
              <a:gd name="connsiteY4" fmla="*/ 580569 h 1298853"/>
              <a:gd name="connsiteX0" fmla="*/ 5255 w 1314553"/>
              <a:gd name="connsiteY0" fmla="*/ 580569 h 1298853"/>
              <a:gd name="connsiteX1" fmla="*/ 1311451 w 1314553"/>
              <a:gd name="connsiteY1" fmla="*/ 0 h 1298853"/>
              <a:gd name="connsiteX2" fmla="*/ 1314553 w 1314553"/>
              <a:gd name="connsiteY2" fmla="*/ 1298853 h 1298853"/>
              <a:gd name="connsiteX3" fmla="*/ 0 w 1314553"/>
              <a:gd name="connsiteY3" fmla="*/ 674286 h 1298853"/>
              <a:gd name="connsiteX4" fmla="*/ 5255 w 1314553"/>
              <a:gd name="connsiteY4" fmla="*/ 580569 h 1298853"/>
              <a:gd name="connsiteX0" fmla="*/ 5255 w 1311451"/>
              <a:gd name="connsiteY0" fmla="*/ 580569 h 705917"/>
              <a:gd name="connsiteX1" fmla="*/ 1311451 w 1311451"/>
              <a:gd name="connsiteY1" fmla="*/ 0 h 705917"/>
              <a:gd name="connsiteX2" fmla="*/ 1308842 w 1311451"/>
              <a:gd name="connsiteY2" fmla="*/ 688588 h 705917"/>
              <a:gd name="connsiteX3" fmla="*/ 0 w 1311451"/>
              <a:gd name="connsiteY3" fmla="*/ 674286 h 705917"/>
              <a:gd name="connsiteX4" fmla="*/ 5255 w 1311451"/>
              <a:gd name="connsiteY4" fmla="*/ 580569 h 705917"/>
              <a:gd name="connsiteX0" fmla="*/ 0 w 1306196"/>
              <a:gd name="connsiteY0" fmla="*/ 580569 h 711218"/>
              <a:gd name="connsiteX1" fmla="*/ 1306196 w 1306196"/>
              <a:gd name="connsiteY1" fmla="*/ 0 h 711218"/>
              <a:gd name="connsiteX2" fmla="*/ 1303587 w 1306196"/>
              <a:gd name="connsiteY2" fmla="*/ 688588 h 711218"/>
              <a:gd name="connsiteX3" fmla="*/ 281 w 1306196"/>
              <a:gd name="connsiteY3" fmla="*/ 688151 h 711218"/>
              <a:gd name="connsiteX4" fmla="*/ 0 w 1306196"/>
              <a:gd name="connsiteY4" fmla="*/ 580569 h 711218"/>
              <a:gd name="connsiteX0" fmla="*/ 21 w 1306217"/>
              <a:gd name="connsiteY0" fmla="*/ 580569 h 705501"/>
              <a:gd name="connsiteX1" fmla="*/ 1306217 w 1306217"/>
              <a:gd name="connsiteY1" fmla="*/ 0 h 705501"/>
              <a:gd name="connsiteX2" fmla="*/ 1303608 w 1306217"/>
              <a:gd name="connsiteY2" fmla="*/ 688588 h 705501"/>
              <a:gd name="connsiteX3" fmla="*/ 302 w 1306217"/>
              <a:gd name="connsiteY3" fmla="*/ 688151 h 705501"/>
              <a:gd name="connsiteX4" fmla="*/ 21 w 1306217"/>
              <a:gd name="connsiteY4" fmla="*/ 580569 h 705501"/>
              <a:gd name="connsiteX0" fmla="*/ 0 w 1306196"/>
              <a:gd name="connsiteY0" fmla="*/ 580569 h 688588"/>
              <a:gd name="connsiteX1" fmla="*/ 1306196 w 1306196"/>
              <a:gd name="connsiteY1" fmla="*/ 0 h 688588"/>
              <a:gd name="connsiteX2" fmla="*/ 1303587 w 1306196"/>
              <a:gd name="connsiteY2" fmla="*/ 688588 h 688588"/>
              <a:gd name="connsiteX3" fmla="*/ 281 w 1306196"/>
              <a:gd name="connsiteY3" fmla="*/ 688151 h 688588"/>
              <a:gd name="connsiteX4" fmla="*/ 0 w 1306196"/>
              <a:gd name="connsiteY4" fmla="*/ 580569 h 68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6196" h="688588">
                <a:moveTo>
                  <a:pt x="0" y="580569"/>
                </a:moveTo>
                <a:lnTo>
                  <a:pt x="1306196" y="0"/>
                </a:lnTo>
                <a:cubicBezTo>
                  <a:pt x="1305326" y="229529"/>
                  <a:pt x="1304457" y="459059"/>
                  <a:pt x="1303587" y="688588"/>
                </a:cubicBezTo>
                <a:lnTo>
                  <a:pt x="281" y="688151"/>
                </a:lnTo>
                <a:cubicBezTo>
                  <a:pt x="-812" y="629328"/>
                  <a:pt x="3278" y="640336"/>
                  <a:pt x="0" y="580569"/>
                </a:cubicBezTo>
                <a:close/>
              </a:path>
            </a:pathLst>
          </a:custGeom>
          <a:noFill/>
          <a:ln>
            <a:noFill/>
          </a:ln>
        </p:spPr>
        <p:txBody>
          <a:bodyPr vert="horz" lIns="91423" tIns="45711" rIns="91423" bIns="45711" anchor="b" anchorCtr="0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endParaRPr lang="es-ES" dirty="0"/>
          </a:p>
        </p:txBody>
      </p:sp>
      <p:sp>
        <p:nvSpPr>
          <p:cNvPr id="7" name="Marcador de texto 6"/>
          <p:cNvSpPr>
            <a:spLocks noGrp="1"/>
          </p:cNvSpPr>
          <p:nvPr>
            <p:ph type="body" sz="quarter" idx="13" hasCustomPrompt="1"/>
          </p:nvPr>
        </p:nvSpPr>
        <p:spPr>
          <a:xfrm>
            <a:off x="1466851" y="1098665"/>
            <a:ext cx="6411913" cy="298291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6000" b="0" i="0">
                <a:solidFill>
                  <a:schemeClr val="tx2"/>
                </a:solidFill>
                <a:latin typeface="Univers 45 Light"/>
                <a:cs typeface="Univers 45 Light"/>
              </a:defRPr>
            </a:lvl1pPr>
          </a:lstStyle>
          <a:p>
            <a:pPr lvl="0"/>
            <a:r>
              <a:rPr lang="es-ES_tradnl" dirty="0"/>
              <a:t>Título separata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059154706"/>
      </p:ext>
    </p:extLst>
  </p:cSld>
  <p:clrMapOvr>
    <a:masterClrMapping/>
  </p:clrMapOvr>
  <p:transition spd="slow">
    <p:circl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os cl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ángulo 17"/>
          <p:cNvSpPr/>
          <p:nvPr userDrawn="1"/>
        </p:nvSpPr>
        <p:spPr>
          <a:xfrm>
            <a:off x="-18011" y="0"/>
            <a:ext cx="9222808" cy="69139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3" tIns="45711" rIns="91423" bIns="45711" rtlCol="0" anchor="ctr"/>
          <a:lstStyle/>
          <a:p>
            <a:pPr algn="ctr"/>
            <a:endParaRPr lang="es-ES"/>
          </a:p>
        </p:txBody>
      </p:sp>
      <p:sp>
        <p:nvSpPr>
          <p:cNvPr id="16" name="Forma libre 15"/>
          <p:cNvSpPr/>
          <p:nvPr userDrawn="1"/>
        </p:nvSpPr>
        <p:spPr>
          <a:xfrm>
            <a:off x="-18012" y="711585"/>
            <a:ext cx="9222808" cy="3008467"/>
          </a:xfrm>
          <a:custGeom>
            <a:avLst/>
            <a:gdLst>
              <a:gd name="connsiteX0" fmla="*/ 0 w 9222808"/>
              <a:gd name="connsiteY0" fmla="*/ 468384 h 3008467"/>
              <a:gd name="connsiteX1" fmla="*/ 1296957 w 9222808"/>
              <a:gd name="connsiteY1" fmla="*/ 0 h 3008467"/>
              <a:gd name="connsiteX2" fmla="*/ 9222808 w 9222808"/>
              <a:gd name="connsiteY2" fmla="*/ 0 h 3008467"/>
              <a:gd name="connsiteX3" fmla="*/ 9204795 w 9222808"/>
              <a:gd name="connsiteY3" fmla="*/ 2666186 h 3008467"/>
              <a:gd name="connsiteX4" fmla="*/ 1287950 w 9222808"/>
              <a:gd name="connsiteY4" fmla="*/ 2648172 h 3008467"/>
              <a:gd name="connsiteX5" fmla="*/ 0 w 9222808"/>
              <a:gd name="connsiteY5" fmla="*/ 3008467 h 3008467"/>
              <a:gd name="connsiteX6" fmla="*/ 0 w 9222808"/>
              <a:gd name="connsiteY6" fmla="*/ 468384 h 3008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222808" h="3008467">
                <a:moveTo>
                  <a:pt x="0" y="468384"/>
                </a:moveTo>
                <a:lnTo>
                  <a:pt x="1296957" y="0"/>
                </a:lnTo>
                <a:lnTo>
                  <a:pt x="9222808" y="0"/>
                </a:lnTo>
                <a:lnTo>
                  <a:pt x="9204795" y="2666186"/>
                </a:lnTo>
                <a:lnTo>
                  <a:pt x="1287950" y="2648172"/>
                </a:lnTo>
                <a:lnTo>
                  <a:pt x="0" y="3008467"/>
                </a:lnTo>
                <a:lnTo>
                  <a:pt x="0" y="4683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3" tIns="45711" rIns="91423" bIns="45711" rtlCol="0" anchor="ctr"/>
          <a:lstStyle/>
          <a:p>
            <a:pPr algn="ctr"/>
            <a:endParaRPr lang="es-ES"/>
          </a:p>
        </p:txBody>
      </p:sp>
      <p:sp>
        <p:nvSpPr>
          <p:cNvPr id="9" name="Marcador de texto 2"/>
          <p:cNvSpPr>
            <a:spLocks noGrp="1"/>
          </p:cNvSpPr>
          <p:nvPr>
            <p:ph type="body" sz="quarter" idx="15" hasCustomPrompt="1"/>
          </p:nvPr>
        </p:nvSpPr>
        <p:spPr>
          <a:xfrm>
            <a:off x="1636713" y="1296989"/>
            <a:ext cx="7243843" cy="7269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4800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_tradnl" dirty="0"/>
              <a:t>Título</a:t>
            </a:r>
            <a:endParaRPr lang="es-ES" dirty="0"/>
          </a:p>
        </p:txBody>
      </p:sp>
      <p:sp>
        <p:nvSpPr>
          <p:cNvPr id="20" name="Forma libre 19"/>
          <p:cNvSpPr/>
          <p:nvPr userDrawn="1"/>
        </p:nvSpPr>
        <p:spPr>
          <a:xfrm>
            <a:off x="-26840" y="1164816"/>
            <a:ext cx="1377837" cy="1324086"/>
          </a:xfrm>
          <a:custGeom>
            <a:avLst/>
            <a:gdLst>
              <a:gd name="connsiteX0" fmla="*/ 1341990 w 1341990"/>
              <a:gd name="connsiteY0" fmla="*/ 0 h 1324086"/>
              <a:gd name="connsiteX1" fmla="*/ 1341990 w 1341990"/>
              <a:gd name="connsiteY1" fmla="*/ 837687 h 1324086"/>
              <a:gd name="connsiteX2" fmla="*/ 0 w 1341990"/>
              <a:gd name="connsiteY2" fmla="*/ 1324086 h 1324086"/>
              <a:gd name="connsiteX3" fmla="*/ 9006 w 1341990"/>
              <a:gd name="connsiteY3" fmla="*/ 495406 h 1324086"/>
              <a:gd name="connsiteX4" fmla="*/ 1341990 w 1341990"/>
              <a:gd name="connsiteY4" fmla="*/ 0 h 1324086"/>
              <a:gd name="connsiteX0" fmla="*/ 1350643 w 1350643"/>
              <a:gd name="connsiteY0" fmla="*/ 0 h 1324086"/>
              <a:gd name="connsiteX1" fmla="*/ 1350643 w 1350643"/>
              <a:gd name="connsiteY1" fmla="*/ 837687 h 1324086"/>
              <a:gd name="connsiteX2" fmla="*/ 8653 w 1350643"/>
              <a:gd name="connsiteY2" fmla="*/ 1324086 h 1324086"/>
              <a:gd name="connsiteX3" fmla="*/ 0 w 1350643"/>
              <a:gd name="connsiteY3" fmla="*/ 504413 h 1324086"/>
              <a:gd name="connsiteX4" fmla="*/ 1350643 w 1350643"/>
              <a:gd name="connsiteY4" fmla="*/ 0 h 1324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0643" h="1324086">
                <a:moveTo>
                  <a:pt x="1350643" y="0"/>
                </a:moveTo>
                <a:lnTo>
                  <a:pt x="1350643" y="837687"/>
                </a:lnTo>
                <a:lnTo>
                  <a:pt x="8653" y="1324086"/>
                </a:lnTo>
                <a:cubicBezTo>
                  <a:pt x="5769" y="1050862"/>
                  <a:pt x="2884" y="777637"/>
                  <a:pt x="0" y="504413"/>
                </a:cubicBezTo>
                <a:lnTo>
                  <a:pt x="135064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3" tIns="45711" rIns="91423" bIns="45711"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58629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circl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yec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texto 4"/>
          <p:cNvSpPr>
            <a:spLocks noGrp="1"/>
          </p:cNvSpPr>
          <p:nvPr>
            <p:ph type="body" sz="quarter" idx="16" hasCustomPrompt="1"/>
          </p:nvPr>
        </p:nvSpPr>
        <p:spPr>
          <a:xfrm>
            <a:off x="877476" y="2495227"/>
            <a:ext cx="949006" cy="1721239"/>
          </a:xfrm>
          <a:custGeom>
            <a:avLst/>
            <a:gdLst>
              <a:gd name="connsiteX0" fmla="*/ 0 w 1152525"/>
              <a:gd name="connsiteY0" fmla="*/ 0 h 1295400"/>
              <a:gd name="connsiteX1" fmla="*/ 1152525 w 1152525"/>
              <a:gd name="connsiteY1" fmla="*/ 0 h 1295400"/>
              <a:gd name="connsiteX2" fmla="*/ 1152525 w 1152525"/>
              <a:gd name="connsiteY2" fmla="*/ 1295400 h 1295400"/>
              <a:gd name="connsiteX3" fmla="*/ 0 w 1152525"/>
              <a:gd name="connsiteY3" fmla="*/ 1295400 h 1295400"/>
              <a:gd name="connsiteX4" fmla="*/ 0 w 1152525"/>
              <a:gd name="connsiteY4" fmla="*/ 0 h 1295400"/>
              <a:gd name="connsiteX0" fmla="*/ 0 w 1165225"/>
              <a:gd name="connsiteY0" fmla="*/ 0 h 1295400"/>
              <a:gd name="connsiteX1" fmla="*/ 1152525 w 1165225"/>
              <a:gd name="connsiteY1" fmla="*/ 0 h 1295400"/>
              <a:gd name="connsiteX2" fmla="*/ 1165225 w 1165225"/>
              <a:gd name="connsiteY2" fmla="*/ 838200 h 1295400"/>
              <a:gd name="connsiteX3" fmla="*/ 0 w 1165225"/>
              <a:gd name="connsiteY3" fmla="*/ 1295400 h 1295400"/>
              <a:gd name="connsiteX4" fmla="*/ 0 w 1165225"/>
              <a:gd name="connsiteY4" fmla="*/ 0 h 1295400"/>
              <a:gd name="connsiteX0" fmla="*/ 9509 w 1174734"/>
              <a:gd name="connsiteY0" fmla="*/ 0 h 1421663"/>
              <a:gd name="connsiteX1" fmla="*/ 1162034 w 1174734"/>
              <a:gd name="connsiteY1" fmla="*/ 0 h 1421663"/>
              <a:gd name="connsiteX2" fmla="*/ 1174734 w 1174734"/>
              <a:gd name="connsiteY2" fmla="*/ 838200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4734"/>
              <a:gd name="connsiteY0" fmla="*/ 0 h 1421663"/>
              <a:gd name="connsiteX1" fmla="*/ 1162034 w 1174734"/>
              <a:gd name="connsiteY1" fmla="*/ 0 h 1421663"/>
              <a:gd name="connsiteX2" fmla="*/ 1174734 w 1174734"/>
              <a:gd name="connsiteY2" fmla="*/ 1010981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4734"/>
              <a:gd name="connsiteY0" fmla="*/ 0 h 1421663"/>
              <a:gd name="connsiteX1" fmla="*/ 1169641 w 1174734"/>
              <a:gd name="connsiteY1" fmla="*/ 0 h 1421663"/>
              <a:gd name="connsiteX2" fmla="*/ 1174734 w 1174734"/>
              <a:gd name="connsiteY2" fmla="*/ 1010981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5774"/>
              <a:gd name="connsiteY0" fmla="*/ 2215 h 1423878"/>
              <a:gd name="connsiteX1" fmla="*/ 1175346 w 1175774"/>
              <a:gd name="connsiteY1" fmla="*/ 0 h 1423878"/>
              <a:gd name="connsiteX2" fmla="*/ 1174734 w 1175774"/>
              <a:gd name="connsiteY2" fmla="*/ 1013196 h 1423878"/>
              <a:gd name="connsiteX3" fmla="*/ 0 w 1175774"/>
              <a:gd name="connsiteY3" fmla="*/ 1423878 h 1423878"/>
              <a:gd name="connsiteX4" fmla="*/ 9509 w 1175774"/>
              <a:gd name="connsiteY4" fmla="*/ 2215 h 1423878"/>
              <a:gd name="connsiteX0" fmla="*/ 5706 w 1171971"/>
              <a:gd name="connsiteY0" fmla="*/ 2215 h 1421663"/>
              <a:gd name="connsiteX1" fmla="*/ 1171543 w 1171971"/>
              <a:gd name="connsiteY1" fmla="*/ 0 h 1421663"/>
              <a:gd name="connsiteX2" fmla="*/ 1170931 w 1171971"/>
              <a:gd name="connsiteY2" fmla="*/ 1013196 h 1421663"/>
              <a:gd name="connsiteX3" fmla="*/ 0 w 1171971"/>
              <a:gd name="connsiteY3" fmla="*/ 1421663 h 1421663"/>
              <a:gd name="connsiteX4" fmla="*/ 5706 w 1171971"/>
              <a:gd name="connsiteY4" fmla="*/ 2215 h 1421663"/>
              <a:gd name="connsiteX0" fmla="*/ 916 w 1167181"/>
              <a:gd name="connsiteY0" fmla="*/ 2215 h 1417233"/>
              <a:gd name="connsiteX1" fmla="*/ 1166753 w 1167181"/>
              <a:gd name="connsiteY1" fmla="*/ 0 h 1417233"/>
              <a:gd name="connsiteX2" fmla="*/ 1166141 w 1167181"/>
              <a:gd name="connsiteY2" fmla="*/ 1013196 h 1417233"/>
              <a:gd name="connsiteX3" fmla="*/ 915 w 1167181"/>
              <a:gd name="connsiteY3" fmla="*/ 1417233 h 1417233"/>
              <a:gd name="connsiteX4" fmla="*/ 916 w 1167181"/>
              <a:gd name="connsiteY4" fmla="*/ 2215 h 1417233"/>
              <a:gd name="connsiteX0" fmla="*/ 916 w 1167181"/>
              <a:gd name="connsiteY0" fmla="*/ 2215 h 1403942"/>
              <a:gd name="connsiteX1" fmla="*/ 1166753 w 1167181"/>
              <a:gd name="connsiteY1" fmla="*/ 0 h 1403942"/>
              <a:gd name="connsiteX2" fmla="*/ 1166141 w 1167181"/>
              <a:gd name="connsiteY2" fmla="*/ 1013196 h 1403942"/>
              <a:gd name="connsiteX3" fmla="*/ 915 w 1167181"/>
              <a:gd name="connsiteY3" fmla="*/ 1403942 h 1403942"/>
              <a:gd name="connsiteX4" fmla="*/ 916 w 1167181"/>
              <a:gd name="connsiteY4" fmla="*/ 2215 h 1403942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86483 w 1252749"/>
              <a:gd name="connsiteY3" fmla="*/ 1403942 h 1438510"/>
              <a:gd name="connsiteX4" fmla="*/ 86104 w 1252749"/>
              <a:gd name="connsiteY4" fmla="*/ 1260419 h 1438510"/>
              <a:gd name="connsiteX5" fmla="*/ 86484 w 1252749"/>
              <a:gd name="connsiteY5" fmla="*/ 2215 h 1438510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177386 w 1252749"/>
              <a:gd name="connsiteY3" fmla="*/ 1373391 h 1438510"/>
              <a:gd name="connsiteX4" fmla="*/ 86483 w 1252749"/>
              <a:gd name="connsiteY4" fmla="*/ 1403942 h 1438510"/>
              <a:gd name="connsiteX5" fmla="*/ 86104 w 1252749"/>
              <a:gd name="connsiteY5" fmla="*/ 1260419 h 1438510"/>
              <a:gd name="connsiteX6" fmla="*/ 86484 w 1252749"/>
              <a:gd name="connsiteY6" fmla="*/ 2215 h 1438510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1154863 w 1252749"/>
              <a:gd name="connsiteY3" fmla="*/ 1041119 h 1438510"/>
              <a:gd name="connsiteX4" fmla="*/ 177386 w 1252749"/>
              <a:gd name="connsiteY4" fmla="*/ 1373391 h 1438510"/>
              <a:gd name="connsiteX5" fmla="*/ 86483 w 1252749"/>
              <a:gd name="connsiteY5" fmla="*/ 1403942 h 1438510"/>
              <a:gd name="connsiteX6" fmla="*/ 86104 w 1252749"/>
              <a:gd name="connsiteY6" fmla="*/ 1260419 h 1438510"/>
              <a:gd name="connsiteX7" fmla="*/ 86484 w 1252749"/>
              <a:gd name="connsiteY7" fmla="*/ 2215 h 1438510"/>
              <a:gd name="connsiteX0" fmla="*/ 86484 w 1337915"/>
              <a:gd name="connsiteY0" fmla="*/ 2215 h 1438510"/>
              <a:gd name="connsiteX1" fmla="*/ 1252321 w 1337915"/>
              <a:gd name="connsiteY1" fmla="*/ 0 h 1438510"/>
              <a:gd name="connsiteX2" fmla="*/ 1249949 w 1337915"/>
              <a:gd name="connsiteY2" fmla="*/ 894920 h 1438510"/>
              <a:gd name="connsiteX3" fmla="*/ 1251709 w 1337915"/>
              <a:gd name="connsiteY3" fmla="*/ 1013196 h 1438510"/>
              <a:gd name="connsiteX4" fmla="*/ 1154863 w 1337915"/>
              <a:gd name="connsiteY4" fmla="*/ 1041119 h 1438510"/>
              <a:gd name="connsiteX5" fmla="*/ 177386 w 1337915"/>
              <a:gd name="connsiteY5" fmla="*/ 1373391 h 1438510"/>
              <a:gd name="connsiteX6" fmla="*/ 86483 w 1337915"/>
              <a:gd name="connsiteY6" fmla="*/ 1403942 h 1438510"/>
              <a:gd name="connsiteX7" fmla="*/ 86104 w 1337915"/>
              <a:gd name="connsiteY7" fmla="*/ 1260419 h 1438510"/>
              <a:gd name="connsiteX8" fmla="*/ 86484 w 1337915"/>
              <a:gd name="connsiteY8" fmla="*/ 2215 h 1438510"/>
              <a:gd name="connsiteX0" fmla="*/ 86484 w 1341572"/>
              <a:gd name="connsiteY0" fmla="*/ 2215 h 1438510"/>
              <a:gd name="connsiteX1" fmla="*/ 1252321 w 1341572"/>
              <a:gd name="connsiteY1" fmla="*/ 0 h 1438510"/>
              <a:gd name="connsiteX2" fmla="*/ 1249949 w 1341572"/>
              <a:gd name="connsiteY2" fmla="*/ 894920 h 1438510"/>
              <a:gd name="connsiteX3" fmla="*/ 1154863 w 1341572"/>
              <a:gd name="connsiteY3" fmla="*/ 1041119 h 1438510"/>
              <a:gd name="connsiteX4" fmla="*/ 177386 w 1341572"/>
              <a:gd name="connsiteY4" fmla="*/ 1373391 h 1438510"/>
              <a:gd name="connsiteX5" fmla="*/ 86483 w 1341572"/>
              <a:gd name="connsiteY5" fmla="*/ 1403942 h 1438510"/>
              <a:gd name="connsiteX6" fmla="*/ 86104 w 1341572"/>
              <a:gd name="connsiteY6" fmla="*/ 1260419 h 1438510"/>
              <a:gd name="connsiteX7" fmla="*/ 86484 w 1341572"/>
              <a:gd name="connsiteY7" fmla="*/ 2215 h 1438510"/>
              <a:gd name="connsiteX0" fmla="*/ 86484 w 1341572"/>
              <a:gd name="connsiteY0" fmla="*/ 2215 h 1373391"/>
              <a:gd name="connsiteX1" fmla="*/ 1252321 w 1341572"/>
              <a:gd name="connsiteY1" fmla="*/ 0 h 1373391"/>
              <a:gd name="connsiteX2" fmla="*/ 1249949 w 1341572"/>
              <a:gd name="connsiteY2" fmla="*/ 894920 h 1373391"/>
              <a:gd name="connsiteX3" fmla="*/ 1154863 w 1341572"/>
              <a:gd name="connsiteY3" fmla="*/ 1041119 h 1373391"/>
              <a:gd name="connsiteX4" fmla="*/ 177386 w 1341572"/>
              <a:gd name="connsiteY4" fmla="*/ 1373391 h 1373391"/>
              <a:gd name="connsiteX5" fmla="*/ 86104 w 1341572"/>
              <a:gd name="connsiteY5" fmla="*/ 1260419 h 1373391"/>
              <a:gd name="connsiteX6" fmla="*/ 86484 w 1341572"/>
              <a:gd name="connsiteY6" fmla="*/ 2215 h 1373391"/>
              <a:gd name="connsiteX0" fmla="*/ 86484 w 1341572"/>
              <a:gd name="connsiteY0" fmla="*/ 2215 h 1380291"/>
              <a:gd name="connsiteX1" fmla="*/ 1252321 w 1341572"/>
              <a:gd name="connsiteY1" fmla="*/ 0 h 1380291"/>
              <a:gd name="connsiteX2" fmla="*/ 1249949 w 1341572"/>
              <a:gd name="connsiteY2" fmla="*/ 894920 h 1380291"/>
              <a:gd name="connsiteX3" fmla="*/ 1154863 w 1341572"/>
              <a:gd name="connsiteY3" fmla="*/ 1041119 h 1380291"/>
              <a:gd name="connsiteX4" fmla="*/ 177386 w 1341572"/>
              <a:gd name="connsiteY4" fmla="*/ 1373391 h 1380291"/>
              <a:gd name="connsiteX5" fmla="*/ 86104 w 1341572"/>
              <a:gd name="connsiteY5" fmla="*/ 1260419 h 1380291"/>
              <a:gd name="connsiteX6" fmla="*/ 86484 w 1341572"/>
              <a:gd name="connsiteY6" fmla="*/ 2215 h 1380291"/>
              <a:gd name="connsiteX0" fmla="*/ 86484 w 1341572"/>
              <a:gd name="connsiteY0" fmla="*/ 2215 h 1425606"/>
              <a:gd name="connsiteX1" fmla="*/ 1252321 w 1341572"/>
              <a:gd name="connsiteY1" fmla="*/ 0 h 1425606"/>
              <a:gd name="connsiteX2" fmla="*/ 1249949 w 1341572"/>
              <a:gd name="connsiteY2" fmla="*/ 894920 h 1425606"/>
              <a:gd name="connsiteX3" fmla="*/ 1154863 w 1341572"/>
              <a:gd name="connsiteY3" fmla="*/ 1041119 h 1425606"/>
              <a:gd name="connsiteX4" fmla="*/ 177386 w 1341572"/>
              <a:gd name="connsiteY4" fmla="*/ 1373391 h 1425606"/>
              <a:gd name="connsiteX5" fmla="*/ 86104 w 1341572"/>
              <a:gd name="connsiteY5" fmla="*/ 1260419 h 1425606"/>
              <a:gd name="connsiteX6" fmla="*/ 86484 w 1341572"/>
              <a:gd name="connsiteY6" fmla="*/ 2215 h 1425606"/>
              <a:gd name="connsiteX0" fmla="*/ 86484 w 1341572"/>
              <a:gd name="connsiteY0" fmla="*/ 2215 h 1410556"/>
              <a:gd name="connsiteX1" fmla="*/ 1252321 w 1341572"/>
              <a:gd name="connsiteY1" fmla="*/ 0 h 1410556"/>
              <a:gd name="connsiteX2" fmla="*/ 1249949 w 1341572"/>
              <a:gd name="connsiteY2" fmla="*/ 894920 h 1410556"/>
              <a:gd name="connsiteX3" fmla="*/ 1154863 w 1341572"/>
              <a:gd name="connsiteY3" fmla="*/ 1041119 h 1410556"/>
              <a:gd name="connsiteX4" fmla="*/ 177386 w 1341572"/>
              <a:gd name="connsiteY4" fmla="*/ 1373391 h 1410556"/>
              <a:gd name="connsiteX5" fmla="*/ 86104 w 1341572"/>
              <a:gd name="connsiteY5" fmla="*/ 1260419 h 1410556"/>
              <a:gd name="connsiteX6" fmla="*/ 86484 w 1341572"/>
              <a:gd name="connsiteY6" fmla="*/ 2215 h 1410556"/>
              <a:gd name="connsiteX0" fmla="*/ 86484 w 1341572"/>
              <a:gd name="connsiteY0" fmla="*/ 2215 h 1416904"/>
              <a:gd name="connsiteX1" fmla="*/ 1252321 w 1341572"/>
              <a:gd name="connsiteY1" fmla="*/ 0 h 1416904"/>
              <a:gd name="connsiteX2" fmla="*/ 1249949 w 1341572"/>
              <a:gd name="connsiteY2" fmla="*/ 894920 h 1416904"/>
              <a:gd name="connsiteX3" fmla="*/ 1154863 w 1341572"/>
              <a:gd name="connsiteY3" fmla="*/ 1041119 h 1416904"/>
              <a:gd name="connsiteX4" fmla="*/ 177386 w 1341572"/>
              <a:gd name="connsiteY4" fmla="*/ 1373391 h 1416904"/>
              <a:gd name="connsiteX5" fmla="*/ 86104 w 1341572"/>
              <a:gd name="connsiteY5" fmla="*/ 1260419 h 1416904"/>
              <a:gd name="connsiteX6" fmla="*/ 86484 w 1341572"/>
              <a:gd name="connsiteY6" fmla="*/ 2215 h 1416904"/>
              <a:gd name="connsiteX0" fmla="*/ 86484 w 1341572"/>
              <a:gd name="connsiteY0" fmla="*/ 2215 h 1383845"/>
              <a:gd name="connsiteX1" fmla="*/ 1252321 w 1341572"/>
              <a:gd name="connsiteY1" fmla="*/ 0 h 1383845"/>
              <a:gd name="connsiteX2" fmla="*/ 1249949 w 1341572"/>
              <a:gd name="connsiteY2" fmla="*/ 894920 h 1383845"/>
              <a:gd name="connsiteX3" fmla="*/ 1154863 w 1341572"/>
              <a:gd name="connsiteY3" fmla="*/ 1041119 h 1383845"/>
              <a:gd name="connsiteX4" fmla="*/ 177386 w 1341572"/>
              <a:gd name="connsiteY4" fmla="*/ 1373391 h 1383845"/>
              <a:gd name="connsiteX5" fmla="*/ 86104 w 1341572"/>
              <a:gd name="connsiteY5" fmla="*/ 1260419 h 1383845"/>
              <a:gd name="connsiteX6" fmla="*/ 86484 w 1341572"/>
              <a:gd name="connsiteY6" fmla="*/ 2215 h 1383845"/>
              <a:gd name="connsiteX0" fmla="*/ 86484 w 1341572"/>
              <a:gd name="connsiteY0" fmla="*/ 2215 h 1375531"/>
              <a:gd name="connsiteX1" fmla="*/ 1252321 w 1341572"/>
              <a:gd name="connsiteY1" fmla="*/ 0 h 1375531"/>
              <a:gd name="connsiteX2" fmla="*/ 1249949 w 1341572"/>
              <a:gd name="connsiteY2" fmla="*/ 894920 h 1375531"/>
              <a:gd name="connsiteX3" fmla="*/ 1154863 w 1341572"/>
              <a:gd name="connsiteY3" fmla="*/ 1041119 h 1375531"/>
              <a:gd name="connsiteX4" fmla="*/ 177386 w 1341572"/>
              <a:gd name="connsiteY4" fmla="*/ 1373391 h 1375531"/>
              <a:gd name="connsiteX5" fmla="*/ 86104 w 1341572"/>
              <a:gd name="connsiteY5" fmla="*/ 1260419 h 1375531"/>
              <a:gd name="connsiteX6" fmla="*/ 86484 w 1341572"/>
              <a:gd name="connsiteY6" fmla="*/ 2215 h 1375531"/>
              <a:gd name="connsiteX0" fmla="*/ 86484 w 1341572"/>
              <a:gd name="connsiteY0" fmla="*/ 2215 h 1375531"/>
              <a:gd name="connsiteX1" fmla="*/ 1252321 w 1341572"/>
              <a:gd name="connsiteY1" fmla="*/ 0 h 1375531"/>
              <a:gd name="connsiteX2" fmla="*/ 1249949 w 1341572"/>
              <a:gd name="connsiteY2" fmla="*/ 894920 h 1375531"/>
              <a:gd name="connsiteX3" fmla="*/ 1154863 w 1341572"/>
              <a:gd name="connsiteY3" fmla="*/ 1041119 h 1375531"/>
              <a:gd name="connsiteX4" fmla="*/ 177386 w 1341572"/>
              <a:gd name="connsiteY4" fmla="*/ 1373391 h 1375531"/>
              <a:gd name="connsiteX5" fmla="*/ 86104 w 1341572"/>
              <a:gd name="connsiteY5" fmla="*/ 1260419 h 1375531"/>
              <a:gd name="connsiteX6" fmla="*/ 86484 w 1341572"/>
              <a:gd name="connsiteY6" fmla="*/ 2215 h 1375531"/>
              <a:gd name="connsiteX0" fmla="*/ 380 w 1255468"/>
              <a:gd name="connsiteY0" fmla="*/ 2215 h 1375531"/>
              <a:gd name="connsiteX1" fmla="*/ 1166217 w 1255468"/>
              <a:gd name="connsiteY1" fmla="*/ 0 h 1375531"/>
              <a:gd name="connsiteX2" fmla="*/ 1163845 w 1255468"/>
              <a:gd name="connsiteY2" fmla="*/ 894920 h 1375531"/>
              <a:gd name="connsiteX3" fmla="*/ 1068759 w 1255468"/>
              <a:gd name="connsiteY3" fmla="*/ 1041119 h 1375531"/>
              <a:gd name="connsiteX4" fmla="*/ 91282 w 1255468"/>
              <a:gd name="connsiteY4" fmla="*/ 1373391 h 1375531"/>
              <a:gd name="connsiteX5" fmla="*/ 0 w 1255468"/>
              <a:gd name="connsiteY5" fmla="*/ 1260419 h 1375531"/>
              <a:gd name="connsiteX6" fmla="*/ 380 w 1255468"/>
              <a:gd name="connsiteY6" fmla="*/ 2215 h 1375531"/>
              <a:gd name="connsiteX0" fmla="*/ 380 w 1177259"/>
              <a:gd name="connsiteY0" fmla="*/ 2215 h 1375531"/>
              <a:gd name="connsiteX1" fmla="*/ 1166217 w 1177259"/>
              <a:gd name="connsiteY1" fmla="*/ 0 h 1375531"/>
              <a:gd name="connsiteX2" fmla="*/ 1163845 w 1177259"/>
              <a:gd name="connsiteY2" fmla="*/ 894920 h 1375531"/>
              <a:gd name="connsiteX3" fmla="*/ 1068759 w 1177259"/>
              <a:gd name="connsiteY3" fmla="*/ 1041119 h 1375531"/>
              <a:gd name="connsiteX4" fmla="*/ 91282 w 1177259"/>
              <a:gd name="connsiteY4" fmla="*/ 1373391 h 1375531"/>
              <a:gd name="connsiteX5" fmla="*/ 0 w 1177259"/>
              <a:gd name="connsiteY5" fmla="*/ 1260419 h 1375531"/>
              <a:gd name="connsiteX6" fmla="*/ 380 w 1177259"/>
              <a:gd name="connsiteY6" fmla="*/ 2215 h 1375531"/>
              <a:gd name="connsiteX0" fmla="*/ 380 w 1190511"/>
              <a:gd name="connsiteY0" fmla="*/ 2215 h 1375531"/>
              <a:gd name="connsiteX1" fmla="*/ 1166217 w 1190511"/>
              <a:gd name="connsiteY1" fmla="*/ 0 h 1375531"/>
              <a:gd name="connsiteX2" fmla="*/ 1163845 w 1190511"/>
              <a:gd name="connsiteY2" fmla="*/ 894920 h 1375531"/>
              <a:gd name="connsiteX3" fmla="*/ 1068759 w 1190511"/>
              <a:gd name="connsiteY3" fmla="*/ 1041119 h 1375531"/>
              <a:gd name="connsiteX4" fmla="*/ 91282 w 1190511"/>
              <a:gd name="connsiteY4" fmla="*/ 1373391 h 1375531"/>
              <a:gd name="connsiteX5" fmla="*/ 0 w 1190511"/>
              <a:gd name="connsiteY5" fmla="*/ 1260419 h 1375531"/>
              <a:gd name="connsiteX6" fmla="*/ 380 w 1190511"/>
              <a:gd name="connsiteY6" fmla="*/ 2215 h 1375531"/>
              <a:gd name="connsiteX0" fmla="*/ 380 w 1246984"/>
              <a:gd name="connsiteY0" fmla="*/ 2215 h 1375531"/>
              <a:gd name="connsiteX1" fmla="*/ 1166217 w 1246984"/>
              <a:gd name="connsiteY1" fmla="*/ 0 h 1375531"/>
              <a:gd name="connsiteX2" fmla="*/ 1163845 w 1246984"/>
              <a:gd name="connsiteY2" fmla="*/ 894920 h 1375531"/>
              <a:gd name="connsiteX3" fmla="*/ 1068759 w 1246984"/>
              <a:gd name="connsiteY3" fmla="*/ 1041119 h 1375531"/>
              <a:gd name="connsiteX4" fmla="*/ 91282 w 1246984"/>
              <a:gd name="connsiteY4" fmla="*/ 1373391 h 1375531"/>
              <a:gd name="connsiteX5" fmla="*/ 0 w 1246984"/>
              <a:gd name="connsiteY5" fmla="*/ 1260419 h 1375531"/>
              <a:gd name="connsiteX6" fmla="*/ 380 w 1246984"/>
              <a:gd name="connsiteY6" fmla="*/ 2215 h 1375531"/>
              <a:gd name="connsiteX0" fmla="*/ 380 w 1190511"/>
              <a:gd name="connsiteY0" fmla="*/ 2215 h 1375531"/>
              <a:gd name="connsiteX1" fmla="*/ 1166217 w 1190511"/>
              <a:gd name="connsiteY1" fmla="*/ 0 h 1375531"/>
              <a:gd name="connsiteX2" fmla="*/ 1163845 w 1190511"/>
              <a:gd name="connsiteY2" fmla="*/ 894920 h 1375531"/>
              <a:gd name="connsiteX3" fmla="*/ 1068759 w 1190511"/>
              <a:gd name="connsiteY3" fmla="*/ 1041119 h 1375531"/>
              <a:gd name="connsiteX4" fmla="*/ 91282 w 1190511"/>
              <a:gd name="connsiteY4" fmla="*/ 1373391 h 1375531"/>
              <a:gd name="connsiteX5" fmla="*/ 0 w 1190511"/>
              <a:gd name="connsiteY5" fmla="*/ 1260419 h 1375531"/>
              <a:gd name="connsiteX6" fmla="*/ 380 w 1190511"/>
              <a:gd name="connsiteY6" fmla="*/ 2215 h 1375531"/>
              <a:gd name="connsiteX0" fmla="*/ 380 w 1183009"/>
              <a:gd name="connsiteY0" fmla="*/ 2215 h 1375531"/>
              <a:gd name="connsiteX1" fmla="*/ 1166217 w 1183009"/>
              <a:gd name="connsiteY1" fmla="*/ 0 h 1375531"/>
              <a:gd name="connsiteX2" fmla="*/ 1163845 w 1183009"/>
              <a:gd name="connsiteY2" fmla="*/ 894920 h 1375531"/>
              <a:gd name="connsiteX3" fmla="*/ 1068759 w 1183009"/>
              <a:gd name="connsiteY3" fmla="*/ 1041119 h 1375531"/>
              <a:gd name="connsiteX4" fmla="*/ 91282 w 1183009"/>
              <a:gd name="connsiteY4" fmla="*/ 1373391 h 1375531"/>
              <a:gd name="connsiteX5" fmla="*/ 0 w 1183009"/>
              <a:gd name="connsiteY5" fmla="*/ 1260419 h 1375531"/>
              <a:gd name="connsiteX6" fmla="*/ 380 w 1183009"/>
              <a:gd name="connsiteY6" fmla="*/ 2215 h 1375531"/>
              <a:gd name="connsiteX0" fmla="*/ 380 w 1166217"/>
              <a:gd name="connsiteY0" fmla="*/ 2215 h 1375531"/>
              <a:gd name="connsiteX1" fmla="*/ 1166217 w 1166217"/>
              <a:gd name="connsiteY1" fmla="*/ 0 h 1375531"/>
              <a:gd name="connsiteX2" fmla="*/ 1163845 w 1166217"/>
              <a:gd name="connsiteY2" fmla="*/ 894920 h 1375531"/>
              <a:gd name="connsiteX3" fmla="*/ 1068759 w 1166217"/>
              <a:gd name="connsiteY3" fmla="*/ 1041119 h 1375531"/>
              <a:gd name="connsiteX4" fmla="*/ 91282 w 1166217"/>
              <a:gd name="connsiteY4" fmla="*/ 1373391 h 1375531"/>
              <a:gd name="connsiteX5" fmla="*/ 0 w 1166217"/>
              <a:gd name="connsiteY5" fmla="*/ 1260419 h 1375531"/>
              <a:gd name="connsiteX6" fmla="*/ 380 w 1166217"/>
              <a:gd name="connsiteY6" fmla="*/ 2215 h 1375531"/>
              <a:gd name="connsiteX0" fmla="*/ 6420 w 1172257"/>
              <a:gd name="connsiteY0" fmla="*/ 2215 h 1399780"/>
              <a:gd name="connsiteX1" fmla="*/ 1172257 w 1172257"/>
              <a:gd name="connsiteY1" fmla="*/ 0 h 1399780"/>
              <a:gd name="connsiteX2" fmla="*/ 1169885 w 1172257"/>
              <a:gd name="connsiteY2" fmla="*/ 894920 h 1399780"/>
              <a:gd name="connsiteX3" fmla="*/ 1074799 w 1172257"/>
              <a:gd name="connsiteY3" fmla="*/ 1041119 h 1399780"/>
              <a:gd name="connsiteX4" fmla="*/ 93519 w 1172257"/>
              <a:gd name="connsiteY4" fmla="*/ 1360100 h 1399780"/>
              <a:gd name="connsiteX5" fmla="*/ 6040 w 1172257"/>
              <a:gd name="connsiteY5" fmla="*/ 1260419 h 1399780"/>
              <a:gd name="connsiteX6" fmla="*/ 6420 w 1172257"/>
              <a:gd name="connsiteY6" fmla="*/ 2215 h 1399780"/>
              <a:gd name="connsiteX0" fmla="*/ 6420 w 1172257"/>
              <a:gd name="connsiteY0" fmla="*/ 2215 h 1400114"/>
              <a:gd name="connsiteX1" fmla="*/ 1172257 w 1172257"/>
              <a:gd name="connsiteY1" fmla="*/ 0 h 1400114"/>
              <a:gd name="connsiteX2" fmla="*/ 1169885 w 1172257"/>
              <a:gd name="connsiteY2" fmla="*/ 894920 h 1400114"/>
              <a:gd name="connsiteX3" fmla="*/ 1074799 w 1172257"/>
              <a:gd name="connsiteY3" fmla="*/ 1041119 h 1400114"/>
              <a:gd name="connsiteX4" fmla="*/ 93519 w 1172257"/>
              <a:gd name="connsiteY4" fmla="*/ 1360100 h 1400114"/>
              <a:gd name="connsiteX5" fmla="*/ 6040 w 1172257"/>
              <a:gd name="connsiteY5" fmla="*/ 1260419 h 1400114"/>
              <a:gd name="connsiteX6" fmla="*/ 6420 w 1172257"/>
              <a:gd name="connsiteY6" fmla="*/ 2215 h 1400114"/>
              <a:gd name="connsiteX0" fmla="*/ 666 w 1166503"/>
              <a:gd name="connsiteY0" fmla="*/ 2215 h 1363444"/>
              <a:gd name="connsiteX1" fmla="*/ 1166503 w 1166503"/>
              <a:gd name="connsiteY1" fmla="*/ 0 h 1363444"/>
              <a:gd name="connsiteX2" fmla="*/ 1164131 w 1166503"/>
              <a:gd name="connsiteY2" fmla="*/ 894920 h 1363444"/>
              <a:gd name="connsiteX3" fmla="*/ 1069045 w 1166503"/>
              <a:gd name="connsiteY3" fmla="*/ 1041119 h 1363444"/>
              <a:gd name="connsiteX4" fmla="*/ 87765 w 1166503"/>
              <a:gd name="connsiteY4" fmla="*/ 1360100 h 1363444"/>
              <a:gd name="connsiteX5" fmla="*/ 286 w 1166503"/>
              <a:gd name="connsiteY5" fmla="*/ 1260419 h 1363444"/>
              <a:gd name="connsiteX6" fmla="*/ 666 w 1166503"/>
              <a:gd name="connsiteY6" fmla="*/ 2215 h 1363444"/>
              <a:gd name="connsiteX0" fmla="*/ 666 w 1168481"/>
              <a:gd name="connsiteY0" fmla="*/ 6645 h 1367874"/>
              <a:gd name="connsiteX1" fmla="*/ 1156995 w 1168481"/>
              <a:gd name="connsiteY1" fmla="*/ 0 h 1367874"/>
              <a:gd name="connsiteX2" fmla="*/ 1164131 w 1168481"/>
              <a:gd name="connsiteY2" fmla="*/ 899350 h 1367874"/>
              <a:gd name="connsiteX3" fmla="*/ 1069045 w 1168481"/>
              <a:gd name="connsiteY3" fmla="*/ 1045549 h 1367874"/>
              <a:gd name="connsiteX4" fmla="*/ 87765 w 1168481"/>
              <a:gd name="connsiteY4" fmla="*/ 1364530 h 1367874"/>
              <a:gd name="connsiteX5" fmla="*/ 286 w 1168481"/>
              <a:gd name="connsiteY5" fmla="*/ 1264849 h 1367874"/>
              <a:gd name="connsiteX6" fmla="*/ 666 w 1168481"/>
              <a:gd name="connsiteY6" fmla="*/ 6645 h 1367874"/>
              <a:gd name="connsiteX0" fmla="*/ 666 w 1169473"/>
              <a:gd name="connsiteY0" fmla="*/ 6645 h 1367874"/>
              <a:gd name="connsiteX1" fmla="*/ 1156995 w 1169473"/>
              <a:gd name="connsiteY1" fmla="*/ 0 h 1367874"/>
              <a:gd name="connsiteX2" fmla="*/ 1164131 w 1169473"/>
              <a:gd name="connsiteY2" fmla="*/ 899350 h 1367874"/>
              <a:gd name="connsiteX3" fmla="*/ 1069045 w 1169473"/>
              <a:gd name="connsiteY3" fmla="*/ 1045549 h 1367874"/>
              <a:gd name="connsiteX4" fmla="*/ 87765 w 1169473"/>
              <a:gd name="connsiteY4" fmla="*/ 1364530 h 1367874"/>
              <a:gd name="connsiteX5" fmla="*/ 286 w 1169473"/>
              <a:gd name="connsiteY5" fmla="*/ 1264849 h 1367874"/>
              <a:gd name="connsiteX6" fmla="*/ 666 w 1169473"/>
              <a:gd name="connsiteY6" fmla="*/ 6645 h 1367874"/>
              <a:gd name="connsiteX0" fmla="*/ 666 w 1162319"/>
              <a:gd name="connsiteY0" fmla="*/ 6645 h 1367874"/>
              <a:gd name="connsiteX1" fmla="*/ 1156995 w 1162319"/>
              <a:gd name="connsiteY1" fmla="*/ 0 h 1367874"/>
              <a:gd name="connsiteX2" fmla="*/ 1154622 w 1162319"/>
              <a:gd name="connsiteY2" fmla="*/ 886059 h 1367874"/>
              <a:gd name="connsiteX3" fmla="*/ 1069045 w 1162319"/>
              <a:gd name="connsiteY3" fmla="*/ 1045549 h 1367874"/>
              <a:gd name="connsiteX4" fmla="*/ 87765 w 1162319"/>
              <a:gd name="connsiteY4" fmla="*/ 1364530 h 1367874"/>
              <a:gd name="connsiteX5" fmla="*/ 286 w 1162319"/>
              <a:gd name="connsiteY5" fmla="*/ 1264849 h 1367874"/>
              <a:gd name="connsiteX6" fmla="*/ 666 w 1162319"/>
              <a:gd name="connsiteY6" fmla="*/ 6645 h 1367874"/>
              <a:gd name="connsiteX0" fmla="*/ 666 w 1157419"/>
              <a:gd name="connsiteY0" fmla="*/ 6645 h 1367874"/>
              <a:gd name="connsiteX1" fmla="*/ 1156995 w 1157419"/>
              <a:gd name="connsiteY1" fmla="*/ 0 h 1367874"/>
              <a:gd name="connsiteX2" fmla="*/ 1154622 w 1157419"/>
              <a:gd name="connsiteY2" fmla="*/ 886059 h 1367874"/>
              <a:gd name="connsiteX3" fmla="*/ 1069045 w 1157419"/>
              <a:gd name="connsiteY3" fmla="*/ 1045549 h 1367874"/>
              <a:gd name="connsiteX4" fmla="*/ 87765 w 1157419"/>
              <a:gd name="connsiteY4" fmla="*/ 1364530 h 1367874"/>
              <a:gd name="connsiteX5" fmla="*/ 286 w 1157419"/>
              <a:gd name="connsiteY5" fmla="*/ 1264849 h 1367874"/>
              <a:gd name="connsiteX6" fmla="*/ 666 w 1157419"/>
              <a:gd name="connsiteY6" fmla="*/ 6645 h 1367874"/>
              <a:gd name="connsiteX0" fmla="*/ 666 w 1157396"/>
              <a:gd name="connsiteY0" fmla="*/ 6645 h 1367874"/>
              <a:gd name="connsiteX1" fmla="*/ 1156995 w 1157396"/>
              <a:gd name="connsiteY1" fmla="*/ 0 h 1367874"/>
              <a:gd name="connsiteX2" fmla="*/ 1154622 w 1157396"/>
              <a:gd name="connsiteY2" fmla="*/ 886059 h 1367874"/>
              <a:gd name="connsiteX3" fmla="*/ 1069045 w 1157396"/>
              <a:gd name="connsiteY3" fmla="*/ 1045549 h 1367874"/>
              <a:gd name="connsiteX4" fmla="*/ 87765 w 1157396"/>
              <a:gd name="connsiteY4" fmla="*/ 1364530 h 1367874"/>
              <a:gd name="connsiteX5" fmla="*/ 286 w 1157396"/>
              <a:gd name="connsiteY5" fmla="*/ 1264849 h 1367874"/>
              <a:gd name="connsiteX6" fmla="*/ 666 w 1157396"/>
              <a:gd name="connsiteY6" fmla="*/ 6645 h 1367874"/>
              <a:gd name="connsiteX0" fmla="*/ 666 w 1157396"/>
              <a:gd name="connsiteY0" fmla="*/ 7103 h 1368332"/>
              <a:gd name="connsiteX1" fmla="*/ 183958 w 1157396"/>
              <a:gd name="connsiteY1" fmla="*/ 0 h 1368332"/>
              <a:gd name="connsiteX2" fmla="*/ 1156995 w 1157396"/>
              <a:gd name="connsiteY2" fmla="*/ 458 h 1368332"/>
              <a:gd name="connsiteX3" fmla="*/ 1154622 w 1157396"/>
              <a:gd name="connsiteY3" fmla="*/ 886517 h 1368332"/>
              <a:gd name="connsiteX4" fmla="*/ 1069045 w 1157396"/>
              <a:gd name="connsiteY4" fmla="*/ 1046007 h 1368332"/>
              <a:gd name="connsiteX5" fmla="*/ 87765 w 1157396"/>
              <a:gd name="connsiteY5" fmla="*/ 1364988 h 1368332"/>
              <a:gd name="connsiteX6" fmla="*/ 286 w 1157396"/>
              <a:gd name="connsiteY6" fmla="*/ 1265307 h 1368332"/>
              <a:gd name="connsiteX7" fmla="*/ 666 w 1157396"/>
              <a:gd name="connsiteY7" fmla="*/ 7103 h 1368332"/>
              <a:gd name="connsiteX0" fmla="*/ 14385 w 1171115"/>
              <a:gd name="connsiteY0" fmla="*/ 7103 h 1368332"/>
              <a:gd name="connsiteX1" fmla="*/ 197677 w 1171115"/>
              <a:gd name="connsiteY1" fmla="*/ 0 h 1368332"/>
              <a:gd name="connsiteX2" fmla="*/ 1170714 w 1171115"/>
              <a:gd name="connsiteY2" fmla="*/ 458 h 1368332"/>
              <a:gd name="connsiteX3" fmla="*/ 1168341 w 1171115"/>
              <a:gd name="connsiteY3" fmla="*/ 886517 h 1368332"/>
              <a:gd name="connsiteX4" fmla="*/ 1082764 w 1171115"/>
              <a:gd name="connsiteY4" fmla="*/ 1046007 h 1368332"/>
              <a:gd name="connsiteX5" fmla="*/ 101484 w 1171115"/>
              <a:gd name="connsiteY5" fmla="*/ 1364988 h 1368332"/>
              <a:gd name="connsiteX6" fmla="*/ 14005 w 1171115"/>
              <a:gd name="connsiteY6" fmla="*/ 1265307 h 1368332"/>
              <a:gd name="connsiteX7" fmla="*/ 12000 w 1171115"/>
              <a:gd name="connsiteY7" fmla="*/ 145300 h 1368332"/>
              <a:gd name="connsiteX8" fmla="*/ 14385 w 1171115"/>
              <a:gd name="connsiteY8" fmla="*/ 7103 h 1368332"/>
              <a:gd name="connsiteX0" fmla="*/ 16814 w 1175929"/>
              <a:gd name="connsiteY0" fmla="*/ 145300 h 1368332"/>
              <a:gd name="connsiteX1" fmla="*/ 202491 w 1175929"/>
              <a:gd name="connsiteY1" fmla="*/ 0 h 1368332"/>
              <a:gd name="connsiteX2" fmla="*/ 1175528 w 1175929"/>
              <a:gd name="connsiteY2" fmla="*/ 458 h 1368332"/>
              <a:gd name="connsiteX3" fmla="*/ 1173155 w 1175929"/>
              <a:gd name="connsiteY3" fmla="*/ 886517 h 1368332"/>
              <a:gd name="connsiteX4" fmla="*/ 1087578 w 1175929"/>
              <a:gd name="connsiteY4" fmla="*/ 1046007 h 1368332"/>
              <a:gd name="connsiteX5" fmla="*/ 106298 w 1175929"/>
              <a:gd name="connsiteY5" fmla="*/ 1364988 h 1368332"/>
              <a:gd name="connsiteX6" fmla="*/ 18819 w 1175929"/>
              <a:gd name="connsiteY6" fmla="*/ 1265307 h 1368332"/>
              <a:gd name="connsiteX7" fmla="*/ 16814 w 1175929"/>
              <a:gd name="connsiteY7" fmla="*/ 145300 h 1368332"/>
              <a:gd name="connsiteX0" fmla="*/ 16814 w 1175929"/>
              <a:gd name="connsiteY0" fmla="*/ 145300 h 1368332"/>
              <a:gd name="connsiteX1" fmla="*/ 202491 w 1175929"/>
              <a:gd name="connsiteY1" fmla="*/ 0 h 1368332"/>
              <a:gd name="connsiteX2" fmla="*/ 1175528 w 1175929"/>
              <a:gd name="connsiteY2" fmla="*/ 458 h 1368332"/>
              <a:gd name="connsiteX3" fmla="*/ 1173155 w 1175929"/>
              <a:gd name="connsiteY3" fmla="*/ 886517 h 1368332"/>
              <a:gd name="connsiteX4" fmla="*/ 1087578 w 1175929"/>
              <a:gd name="connsiteY4" fmla="*/ 1046007 h 1368332"/>
              <a:gd name="connsiteX5" fmla="*/ 106298 w 1175929"/>
              <a:gd name="connsiteY5" fmla="*/ 1364988 h 1368332"/>
              <a:gd name="connsiteX6" fmla="*/ 18819 w 1175929"/>
              <a:gd name="connsiteY6" fmla="*/ 1265307 h 1368332"/>
              <a:gd name="connsiteX7" fmla="*/ 16814 w 1175929"/>
              <a:gd name="connsiteY7" fmla="*/ 145300 h 1368332"/>
              <a:gd name="connsiteX0" fmla="*/ 4446 w 1163561"/>
              <a:gd name="connsiteY0" fmla="*/ 145300 h 1368332"/>
              <a:gd name="connsiteX1" fmla="*/ 190123 w 1163561"/>
              <a:gd name="connsiteY1" fmla="*/ 0 h 1368332"/>
              <a:gd name="connsiteX2" fmla="*/ 1163160 w 1163561"/>
              <a:gd name="connsiteY2" fmla="*/ 458 h 1368332"/>
              <a:gd name="connsiteX3" fmla="*/ 1160787 w 1163561"/>
              <a:gd name="connsiteY3" fmla="*/ 886517 h 1368332"/>
              <a:gd name="connsiteX4" fmla="*/ 1075210 w 1163561"/>
              <a:gd name="connsiteY4" fmla="*/ 1046007 h 1368332"/>
              <a:gd name="connsiteX5" fmla="*/ 93930 w 1163561"/>
              <a:gd name="connsiteY5" fmla="*/ 1364988 h 1368332"/>
              <a:gd name="connsiteX6" fmla="*/ 6451 w 1163561"/>
              <a:gd name="connsiteY6" fmla="*/ 1265307 h 1368332"/>
              <a:gd name="connsiteX7" fmla="*/ 4446 w 1163561"/>
              <a:gd name="connsiteY7" fmla="*/ 145300 h 1368332"/>
              <a:gd name="connsiteX0" fmla="*/ 4446 w 1163561"/>
              <a:gd name="connsiteY0" fmla="*/ 145300 h 1368332"/>
              <a:gd name="connsiteX1" fmla="*/ 190123 w 1163561"/>
              <a:gd name="connsiteY1" fmla="*/ 0 h 1368332"/>
              <a:gd name="connsiteX2" fmla="*/ 1163160 w 1163561"/>
              <a:gd name="connsiteY2" fmla="*/ 458 h 1368332"/>
              <a:gd name="connsiteX3" fmla="*/ 1160787 w 1163561"/>
              <a:gd name="connsiteY3" fmla="*/ 886517 h 1368332"/>
              <a:gd name="connsiteX4" fmla="*/ 1075210 w 1163561"/>
              <a:gd name="connsiteY4" fmla="*/ 1046007 h 1368332"/>
              <a:gd name="connsiteX5" fmla="*/ 93930 w 1163561"/>
              <a:gd name="connsiteY5" fmla="*/ 1364988 h 1368332"/>
              <a:gd name="connsiteX6" fmla="*/ 6451 w 1163561"/>
              <a:gd name="connsiteY6" fmla="*/ 1265307 h 1368332"/>
              <a:gd name="connsiteX7" fmla="*/ 4446 w 1163561"/>
              <a:gd name="connsiteY7" fmla="*/ 145300 h 1368332"/>
              <a:gd name="connsiteX0" fmla="*/ 4446 w 1163561"/>
              <a:gd name="connsiteY0" fmla="*/ 148041 h 1371073"/>
              <a:gd name="connsiteX1" fmla="*/ 228102 w 1163561"/>
              <a:gd name="connsiteY1" fmla="*/ 0 h 1371073"/>
              <a:gd name="connsiteX2" fmla="*/ 1163160 w 1163561"/>
              <a:gd name="connsiteY2" fmla="*/ 3199 h 1371073"/>
              <a:gd name="connsiteX3" fmla="*/ 1160787 w 1163561"/>
              <a:gd name="connsiteY3" fmla="*/ 889258 h 1371073"/>
              <a:gd name="connsiteX4" fmla="*/ 1075210 w 1163561"/>
              <a:gd name="connsiteY4" fmla="*/ 1048748 h 1371073"/>
              <a:gd name="connsiteX5" fmla="*/ 93930 w 1163561"/>
              <a:gd name="connsiteY5" fmla="*/ 1367729 h 1371073"/>
              <a:gd name="connsiteX6" fmla="*/ 6451 w 1163561"/>
              <a:gd name="connsiteY6" fmla="*/ 1268048 h 1371073"/>
              <a:gd name="connsiteX7" fmla="*/ 4446 w 1163561"/>
              <a:gd name="connsiteY7" fmla="*/ 148041 h 1371073"/>
              <a:gd name="connsiteX0" fmla="*/ 4446 w 1163561"/>
              <a:gd name="connsiteY0" fmla="*/ 148041 h 1371073"/>
              <a:gd name="connsiteX1" fmla="*/ 228102 w 1163561"/>
              <a:gd name="connsiteY1" fmla="*/ 0 h 1371073"/>
              <a:gd name="connsiteX2" fmla="*/ 1163160 w 1163561"/>
              <a:gd name="connsiteY2" fmla="*/ 3199 h 1371073"/>
              <a:gd name="connsiteX3" fmla="*/ 1160787 w 1163561"/>
              <a:gd name="connsiteY3" fmla="*/ 889258 h 1371073"/>
              <a:gd name="connsiteX4" fmla="*/ 1075210 w 1163561"/>
              <a:gd name="connsiteY4" fmla="*/ 1048748 h 1371073"/>
              <a:gd name="connsiteX5" fmla="*/ 93930 w 1163561"/>
              <a:gd name="connsiteY5" fmla="*/ 1367729 h 1371073"/>
              <a:gd name="connsiteX6" fmla="*/ 6451 w 1163561"/>
              <a:gd name="connsiteY6" fmla="*/ 1268048 h 1371073"/>
              <a:gd name="connsiteX7" fmla="*/ 4446 w 1163561"/>
              <a:gd name="connsiteY7" fmla="*/ 148041 h 1371073"/>
              <a:gd name="connsiteX0" fmla="*/ 4446 w 1163561"/>
              <a:gd name="connsiteY0" fmla="*/ 148041 h 1371073"/>
              <a:gd name="connsiteX1" fmla="*/ 228102 w 1163561"/>
              <a:gd name="connsiteY1" fmla="*/ 0 h 1371073"/>
              <a:gd name="connsiteX2" fmla="*/ 1163160 w 1163561"/>
              <a:gd name="connsiteY2" fmla="*/ 3199 h 1371073"/>
              <a:gd name="connsiteX3" fmla="*/ 1160787 w 1163561"/>
              <a:gd name="connsiteY3" fmla="*/ 889258 h 1371073"/>
              <a:gd name="connsiteX4" fmla="*/ 1075210 w 1163561"/>
              <a:gd name="connsiteY4" fmla="*/ 1048748 h 1371073"/>
              <a:gd name="connsiteX5" fmla="*/ 93930 w 1163561"/>
              <a:gd name="connsiteY5" fmla="*/ 1367729 h 1371073"/>
              <a:gd name="connsiteX6" fmla="*/ 6451 w 1163561"/>
              <a:gd name="connsiteY6" fmla="*/ 1268048 h 1371073"/>
              <a:gd name="connsiteX7" fmla="*/ 4446 w 1163561"/>
              <a:gd name="connsiteY7" fmla="*/ 148041 h 1371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63561" h="1371073">
                <a:moveTo>
                  <a:pt x="4446" y="148041"/>
                </a:moveTo>
                <a:cubicBezTo>
                  <a:pt x="13958" y="57783"/>
                  <a:pt x="98283" y="7692"/>
                  <a:pt x="228102" y="0"/>
                </a:cubicBezTo>
                <a:lnTo>
                  <a:pt x="1163160" y="3199"/>
                </a:lnTo>
                <a:cubicBezTo>
                  <a:pt x="1164999" y="271600"/>
                  <a:pt x="1159872" y="710571"/>
                  <a:pt x="1160787" y="889258"/>
                </a:cubicBezTo>
                <a:cubicBezTo>
                  <a:pt x="1161331" y="995461"/>
                  <a:pt x="1155081" y="1024381"/>
                  <a:pt x="1075210" y="1048748"/>
                </a:cubicBezTo>
                <a:cubicBezTo>
                  <a:pt x="749384" y="1159505"/>
                  <a:pt x="409899" y="1278998"/>
                  <a:pt x="93930" y="1367729"/>
                </a:cubicBezTo>
                <a:cubicBezTo>
                  <a:pt x="47270" y="1380832"/>
                  <a:pt x="7655" y="1357023"/>
                  <a:pt x="6451" y="1268048"/>
                </a:cubicBezTo>
                <a:cubicBezTo>
                  <a:pt x="-8463" y="1064767"/>
                  <a:pt x="7593" y="416497"/>
                  <a:pt x="4446" y="14804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lIns="251953" tIns="0" rIns="215960" bIns="0" anchor="b" anchorCtr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  <a:lvl2pPr marL="457116" indent="0">
              <a:buFontTx/>
              <a:buNone/>
              <a:defRPr/>
            </a:lvl2pPr>
            <a:lvl3pPr marL="914231" indent="0">
              <a:buFontTx/>
              <a:buNone/>
              <a:defRPr/>
            </a:lvl3pPr>
            <a:lvl4pPr marL="1263417" indent="0">
              <a:buFontTx/>
              <a:buNone/>
              <a:defRPr/>
            </a:lvl4pPr>
            <a:lvl5pPr marL="1599906" indent="0">
              <a:buFontTx/>
              <a:buNone/>
              <a:defRPr/>
            </a:lvl5pPr>
          </a:lstStyle>
          <a:p>
            <a:pPr lvl="0"/>
            <a:r>
              <a:rPr lang="es-ES_tradnl" dirty="0"/>
              <a:t>a</a:t>
            </a:r>
            <a:endParaRPr lang="es-ES" dirty="0"/>
          </a:p>
        </p:txBody>
      </p:sp>
      <p:sp>
        <p:nvSpPr>
          <p:cNvPr id="12" name="Marcador de posición de imagen 2"/>
          <p:cNvSpPr>
            <a:spLocks noGrp="1"/>
          </p:cNvSpPr>
          <p:nvPr>
            <p:ph type="pic" sz="quarter" idx="12"/>
          </p:nvPr>
        </p:nvSpPr>
        <p:spPr>
          <a:xfrm>
            <a:off x="-32732" y="1418281"/>
            <a:ext cx="9242422" cy="5490997"/>
          </a:xfrm>
          <a:custGeom>
            <a:avLst/>
            <a:gdLst>
              <a:gd name="connsiteX0" fmla="*/ 0 w 1295400"/>
              <a:gd name="connsiteY0" fmla="*/ 0 h 1295400"/>
              <a:gd name="connsiteX1" fmla="*/ 1295400 w 1295400"/>
              <a:gd name="connsiteY1" fmla="*/ 0 h 1295400"/>
              <a:gd name="connsiteX2" fmla="*/ 1295400 w 1295400"/>
              <a:gd name="connsiteY2" fmla="*/ 1295400 h 1295400"/>
              <a:gd name="connsiteX3" fmla="*/ 0 w 1295400"/>
              <a:gd name="connsiteY3" fmla="*/ 1295400 h 1295400"/>
              <a:gd name="connsiteX4" fmla="*/ 0 w 1295400"/>
              <a:gd name="connsiteY4" fmla="*/ 0 h 1295400"/>
              <a:gd name="connsiteX0" fmla="*/ 0 w 1295400"/>
              <a:gd name="connsiteY0" fmla="*/ 381000 h 1295400"/>
              <a:gd name="connsiteX1" fmla="*/ 1295400 w 1295400"/>
              <a:gd name="connsiteY1" fmla="*/ 0 h 1295400"/>
              <a:gd name="connsiteX2" fmla="*/ 1295400 w 1295400"/>
              <a:gd name="connsiteY2" fmla="*/ 1295400 h 1295400"/>
              <a:gd name="connsiteX3" fmla="*/ 0 w 1295400"/>
              <a:gd name="connsiteY3" fmla="*/ 1295400 h 1295400"/>
              <a:gd name="connsiteX4" fmla="*/ 0 w 1295400"/>
              <a:gd name="connsiteY4" fmla="*/ 381000 h 1295400"/>
              <a:gd name="connsiteX0" fmla="*/ 2646 w 1295400"/>
              <a:gd name="connsiteY0" fmla="*/ 575389 h 1295400"/>
              <a:gd name="connsiteX1" fmla="*/ 1295400 w 1295400"/>
              <a:gd name="connsiteY1" fmla="*/ 0 h 1295400"/>
              <a:gd name="connsiteX2" fmla="*/ 1295400 w 1295400"/>
              <a:gd name="connsiteY2" fmla="*/ 1295400 h 1295400"/>
              <a:gd name="connsiteX3" fmla="*/ 0 w 1295400"/>
              <a:gd name="connsiteY3" fmla="*/ 1295400 h 1295400"/>
              <a:gd name="connsiteX4" fmla="*/ 2646 w 1295400"/>
              <a:gd name="connsiteY4" fmla="*/ 575389 h 1295400"/>
              <a:gd name="connsiteX0" fmla="*/ 0 w 1299992"/>
              <a:gd name="connsiteY0" fmla="*/ 573663 h 1295400"/>
              <a:gd name="connsiteX1" fmla="*/ 1299992 w 1299992"/>
              <a:gd name="connsiteY1" fmla="*/ 0 h 1295400"/>
              <a:gd name="connsiteX2" fmla="*/ 1299992 w 1299992"/>
              <a:gd name="connsiteY2" fmla="*/ 1295400 h 1295400"/>
              <a:gd name="connsiteX3" fmla="*/ 4592 w 1299992"/>
              <a:gd name="connsiteY3" fmla="*/ 1295400 h 1295400"/>
              <a:gd name="connsiteX4" fmla="*/ 0 w 1299992"/>
              <a:gd name="connsiteY4" fmla="*/ 573663 h 1295400"/>
              <a:gd name="connsiteX0" fmla="*/ 45 w 1300037"/>
              <a:gd name="connsiteY0" fmla="*/ 573663 h 1295400"/>
              <a:gd name="connsiteX1" fmla="*/ 1300037 w 1300037"/>
              <a:gd name="connsiteY1" fmla="*/ 0 h 1295400"/>
              <a:gd name="connsiteX2" fmla="*/ 1300037 w 1300037"/>
              <a:gd name="connsiteY2" fmla="*/ 1295400 h 1295400"/>
              <a:gd name="connsiteX3" fmla="*/ 501 w 1300037"/>
              <a:gd name="connsiteY3" fmla="*/ 1291947 h 1295400"/>
              <a:gd name="connsiteX4" fmla="*/ 45 w 1300037"/>
              <a:gd name="connsiteY4" fmla="*/ 573663 h 1295400"/>
              <a:gd name="connsiteX0" fmla="*/ 45 w 1309343"/>
              <a:gd name="connsiteY0" fmla="*/ 573663 h 1291947"/>
              <a:gd name="connsiteX1" fmla="*/ 1300037 w 1309343"/>
              <a:gd name="connsiteY1" fmla="*/ 0 h 1291947"/>
              <a:gd name="connsiteX2" fmla="*/ 1309343 w 1309343"/>
              <a:gd name="connsiteY2" fmla="*/ 1291947 h 1291947"/>
              <a:gd name="connsiteX3" fmla="*/ 501 w 1309343"/>
              <a:gd name="connsiteY3" fmla="*/ 1291947 h 1291947"/>
              <a:gd name="connsiteX4" fmla="*/ 45 w 1309343"/>
              <a:gd name="connsiteY4" fmla="*/ 573663 h 1291947"/>
              <a:gd name="connsiteX0" fmla="*/ 45 w 1309343"/>
              <a:gd name="connsiteY0" fmla="*/ 580569 h 1298853"/>
              <a:gd name="connsiteX1" fmla="*/ 1306241 w 1309343"/>
              <a:gd name="connsiteY1" fmla="*/ 0 h 1298853"/>
              <a:gd name="connsiteX2" fmla="*/ 1309343 w 1309343"/>
              <a:gd name="connsiteY2" fmla="*/ 1298853 h 1298853"/>
              <a:gd name="connsiteX3" fmla="*/ 501 w 1309343"/>
              <a:gd name="connsiteY3" fmla="*/ 1298853 h 1298853"/>
              <a:gd name="connsiteX4" fmla="*/ 45 w 1309343"/>
              <a:gd name="connsiteY4" fmla="*/ 580569 h 1298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9343" h="1298853">
                <a:moveTo>
                  <a:pt x="45" y="580569"/>
                </a:moveTo>
                <a:lnTo>
                  <a:pt x="1306241" y="0"/>
                </a:lnTo>
                <a:lnTo>
                  <a:pt x="1309343" y="1298853"/>
                </a:lnTo>
                <a:lnTo>
                  <a:pt x="501" y="1298853"/>
                </a:lnTo>
                <a:cubicBezTo>
                  <a:pt x="-1030" y="1058274"/>
                  <a:pt x="1576" y="821148"/>
                  <a:pt x="45" y="580569"/>
                </a:cubicBezTo>
                <a:close/>
              </a:path>
            </a:pathLst>
          </a:custGeom>
          <a:ln>
            <a:noFill/>
          </a:ln>
        </p:spPr>
        <p:txBody>
          <a:bodyPr vert="horz" lIns="91423" tIns="45711" rIns="91423" bIns="45711" anchor="b" anchorCtr="0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endParaRPr lang="es-ES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5" hasCustomPrompt="1"/>
          </p:nvPr>
        </p:nvSpPr>
        <p:spPr>
          <a:xfrm>
            <a:off x="1636713" y="1296989"/>
            <a:ext cx="3966332" cy="7269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4800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_tradnl" dirty="0"/>
              <a:t>Título</a:t>
            </a:r>
            <a:endParaRPr lang="es-ES" dirty="0"/>
          </a:p>
        </p:txBody>
      </p:sp>
      <p:sp>
        <p:nvSpPr>
          <p:cNvPr id="15" name="Marcador de texto 4"/>
          <p:cNvSpPr>
            <a:spLocks noGrp="1"/>
          </p:cNvSpPr>
          <p:nvPr>
            <p:ph type="body" sz="quarter" idx="14" hasCustomPrompt="1"/>
          </p:nvPr>
        </p:nvSpPr>
        <p:spPr>
          <a:xfrm>
            <a:off x="1343707" y="2383913"/>
            <a:ext cx="4133414" cy="4193989"/>
          </a:xfrm>
          <a:custGeom>
            <a:avLst/>
            <a:gdLst>
              <a:gd name="connsiteX0" fmla="*/ 0 w 1152525"/>
              <a:gd name="connsiteY0" fmla="*/ 0 h 1295400"/>
              <a:gd name="connsiteX1" fmla="*/ 1152525 w 1152525"/>
              <a:gd name="connsiteY1" fmla="*/ 0 h 1295400"/>
              <a:gd name="connsiteX2" fmla="*/ 1152525 w 1152525"/>
              <a:gd name="connsiteY2" fmla="*/ 1295400 h 1295400"/>
              <a:gd name="connsiteX3" fmla="*/ 0 w 1152525"/>
              <a:gd name="connsiteY3" fmla="*/ 1295400 h 1295400"/>
              <a:gd name="connsiteX4" fmla="*/ 0 w 1152525"/>
              <a:gd name="connsiteY4" fmla="*/ 0 h 1295400"/>
              <a:gd name="connsiteX0" fmla="*/ 0 w 1165225"/>
              <a:gd name="connsiteY0" fmla="*/ 0 h 1295400"/>
              <a:gd name="connsiteX1" fmla="*/ 1152525 w 1165225"/>
              <a:gd name="connsiteY1" fmla="*/ 0 h 1295400"/>
              <a:gd name="connsiteX2" fmla="*/ 1165225 w 1165225"/>
              <a:gd name="connsiteY2" fmla="*/ 838200 h 1295400"/>
              <a:gd name="connsiteX3" fmla="*/ 0 w 1165225"/>
              <a:gd name="connsiteY3" fmla="*/ 1295400 h 1295400"/>
              <a:gd name="connsiteX4" fmla="*/ 0 w 1165225"/>
              <a:gd name="connsiteY4" fmla="*/ 0 h 1295400"/>
              <a:gd name="connsiteX0" fmla="*/ 9509 w 1174734"/>
              <a:gd name="connsiteY0" fmla="*/ 0 h 1421663"/>
              <a:gd name="connsiteX1" fmla="*/ 1162034 w 1174734"/>
              <a:gd name="connsiteY1" fmla="*/ 0 h 1421663"/>
              <a:gd name="connsiteX2" fmla="*/ 1174734 w 1174734"/>
              <a:gd name="connsiteY2" fmla="*/ 838200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4734"/>
              <a:gd name="connsiteY0" fmla="*/ 0 h 1421663"/>
              <a:gd name="connsiteX1" fmla="*/ 1162034 w 1174734"/>
              <a:gd name="connsiteY1" fmla="*/ 0 h 1421663"/>
              <a:gd name="connsiteX2" fmla="*/ 1174734 w 1174734"/>
              <a:gd name="connsiteY2" fmla="*/ 1010981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4734"/>
              <a:gd name="connsiteY0" fmla="*/ 0 h 1421663"/>
              <a:gd name="connsiteX1" fmla="*/ 1169641 w 1174734"/>
              <a:gd name="connsiteY1" fmla="*/ 0 h 1421663"/>
              <a:gd name="connsiteX2" fmla="*/ 1174734 w 1174734"/>
              <a:gd name="connsiteY2" fmla="*/ 1010981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5774"/>
              <a:gd name="connsiteY0" fmla="*/ 2215 h 1423878"/>
              <a:gd name="connsiteX1" fmla="*/ 1175346 w 1175774"/>
              <a:gd name="connsiteY1" fmla="*/ 0 h 1423878"/>
              <a:gd name="connsiteX2" fmla="*/ 1174734 w 1175774"/>
              <a:gd name="connsiteY2" fmla="*/ 1013196 h 1423878"/>
              <a:gd name="connsiteX3" fmla="*/ 0 w 1175774"/>
              <a:gd name="connsiteY3" fmla="*/ 1423878 h 1423878"/>
              <a:gd name="connsiteX4" fmla="*/ 9509 w 1175774"/>
              <a:gd name="connsiteY4" fmla="*/ 2215 h 1423878"/>
              <a:gd name="connsiteX0" fmla="*/ 5706 w 1171971"/>
              <a:gd name="connsiteY0" fmla="*/ 2215 h 1421663"/>
              <a:gd name="connsiteX1" fmla="*/ 1171543 w 1171971"/>
              <a:gd name="connsiteY1" fmla="*/ 0 h 1421663"/>
              <a:gd name="connsiteX2" fmla="*/ 1170931 w 1171971"/>
              <a:gd name="connsiteY2" fmla="*/ 1013196 h 1421663"/>
              <a:gd name="connsiteX3" fmla="*/ 0 w 1171971"/>
              <a:gd name="connsiteY3" fmla="*/ 1421663 h 1421663"/>
              <a:gd name="connsiteX4" fmla="*/ 5706 w 1171971"/>
              <a:gd name="connsiteY4" fmla="*/ 2215 h 1421663"/>
              <a:gd name="connsiteX0" fmla="*/ 916 w 1167181"/>
              <a:gd name="connsiteY0" fmla="*/ 2215 h 1417233"/>
              <a:gd name="connsiteX1" fmla="*/ 1166753 w 1167181"/>
              <a:gd name="connsiteY1" fmla="*/ 0 h 1417233"/>
              <a:gd name="connsiteX2" fmla="*/ 1166141 w 1167181"/>
              <a:gd name="connsiteY2" fmla="*/ 1013196 h 1417233"/>
              <a:gd name="connsiteX3" fmla="*/ 915 w 1167181"/>
              <a:gd name="connsiteY3" fmla="*/ 1417233 h 1417233"/>
              <a:gd name="connsiteX4" fmla="*/ 916 w 1167181"/>
              <a:gd name="connsiteY4" fmla="*/ 2215 h 1417233"/>
              <a:gd name="connsiteX0" fmla="*/ 916 w 1167181"/>
              <a:gd name="connsiteY0" fmla="*/ 2215 h 1403942"/>
              <a:gd name="connsiteX1" fmla="*/ 1166753 w 1167181"/>
              <a:gd name="connsiteY1" fmla="*/ 0 h 1403942"/>
              <a:gd name="connsiteX2" fmla="*/ 1166141 w 1167181"/>
              <a:gd name="connsiteY2" fmla="*/ 1013196 h 1403942"/>
              <a:gd name="connsiteX3" fmla="*/ 915 w 1167181"/>
              <a:gd name="connsiteY3" fmla="*/ 1403942 h 1403942"/>
              <a:gd name="connsiteX4" fmla="*/ 916 w 1167181"/>
              <a:gd name="connsiteY4" fmla="*/ 2215 h 1403942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86483 w 1252749"/>
              <a:gd name="connsiteY3" fmla="*/ 1403942 h 1438510"/>
              <a:gd name="connsiteX4" fmla="*/ 86104 w 1252749"/>
              <a:gd name="connsiteY4" fmla="*/ 1260419 h 1438510"/>
              <a:gd name="connsiteX5" fmla="*/ 86484 w 1252749"/>
              <a:gd name="connsiteY5" fmla="*/ 2215 h 1438510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177386 w 1252749"/>
              <a:gd name="connsiteY3" fmla="*/ 1373391 h 1438510"/>
              <a:gd name="connsiteX4" fmla="*/ 86483 w 1252749"/>
              <a:gd name="connsiteY4" fmla="*/ 1403942 h 1438510"/>
              <a:gd name="connsiteX5" fmla="*/ 86104 w 1252749"/>
              <a:gd name="connsiteY5" fmla="*/ 1260419 h 1438510"/>
              <a:gd name="connsiteX6" fmla="*/ 86484 w 1252749"/>
              <a:gd name="connsiteY6" fmla="*/ 2215 h 1438510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1154863 w 1252749"/>
              <a:gd name="connsiteY3" fmla="*/ 1041119 h 1438510"/>
              <a:gd name="connsiteX4" fmla="*/ 177386 w 1252749"/>
              <a:gd name="connsiteY4" fmla="*/ 1373391 h 1438510"/>
              <a:gd name="connsiteX5" fmla="*/ 86483 w 1252749"/>
              <a:gd name="connsiteY5" fmla="*/ 1403942 h 1438510"/>
              <a:gd name="connsiteX6" fmla="*/ 86104 w 1252749"/>
              <a:gd name="connsiteY6" fmla="*/ 1260419 h 1438510"/>
              <a:gd name="connsiteX7" fmla="*/ 86484 w 1252749"/>
              <a:gd name="connsiteY7" fmla="*/ 2215 h 1438510"/>
              <a:gd name="connsiteX0" fmla="*/ 86484 w 1337915"/>
              <a:gd name="connsiteY0" fmla="*/ 2215 h 1438510"/>
              <a:gd name="connsiteX1" fmla="*/ 1252321 w 1337915"/>
              <a:gd name="connsiteY1" fmla="*/ 0 h 1438510"/>
              <a:gd name="connsiteX2" fmla="*/ 1249949 w 1337915"/>
              <a:gd name="connsiteY2" fmla="*/ 894920 h 1438510"/>
              <a:gd name="connsiteX3" fmla="*/ 1251709 w 1337915"/>
              <a:gd name="connsiteY3" fmla="*/ 1013196 h 1438510"/>
              <a:gd name="connsiteX4" fmla="*/ 1154863 w 1337915"/>
              <a:gd name="connsiteY4" fmla="*/ 1041119 h 1438510"/>
              <a:gd name="connsiteX5" fmla="*/ 177386 w 1337915"/>
              <a:gd name="connsiteY5" fmla="*/ 1373391 h 1438510"/>
              <a:gd name="connsiteX6" fmla="*/ 86483 w 1337915"/>
              <a:gd name="connsiteY6" fmla="*/ 1403942 h 1438510"/>
              <a:gd name="connsiteX7" fmla="*/ 86104 w 1337915"/>
              <a:gd name="connsiteY7" fmla="*/ 1260419 h 1438510"/>
              <a:gd name="connsiteX8" fmla="*/ 86484 w 1337915"/>
              <a:gd name="connsiteY8" fmla="*/ 2215 h 1438510"/>
              <a:gd name="connsiteX0" fmla="*/ 86484 w 1341572"/>
              <a:gd name="connsiteY0" fmla="*/ 2215 h 1438510"/>
              <a:gd name="connsiteX1" fmla="*/ 1252321 w 1341572"/>
              <a:gd name="connsiteY1" fmla="*/ 0 h 1438510"/>
              <a:gd name="connsiteX2" fmla="*/ 1249949 w 1341572"/>
              <a:gd name="connsiteY2" fmla="*/ 894920 h 1438510"/>
              <a:gd name="connsiteX3" fmla="*/ 1154863 w 1341572"/>
              <a:gd name="connsiteY3" fmla="*/ 1041119 h 1438510"/>
              <a:gd name="connsiteX4" fmla="*/ 177386 w 1341572"/>
              <a:gd name="connsiteY4" fmla="*/ 1373391 h 1438510"/>
              <a:gd name="connsiteX5" fmla="*/ 86483 w 1341572"/>
              <a:gd name="connsiteY5" fmla="*/ 1403942 h 1438510"/>
              <a:gd name="connsiteX6" fmla="*/ 86104 w 1341572"/>
              <a:gd name="connsiteY6" fmla="*/ 1260419 h 1438510"/>
              <a:gd name="connsiteX7" fmla="*/ 86484 w 1341572"/>
              <a:gd name="connsiteY7" fmla="*/ 2215 h 1438510"/>
              <a:gd name="connsiteX0" fmla="*/ 86484 w 1341572"/>
              <a:gd name="connsiteY0" fmla="*/ 2215 h 1373391"/>
              <a:gd name="connsiteX1" fmla="*/ 1252321 w 1341572"/>
              <a:gd name="connsiteY1" fmla="*/ 0 h 1373391"/>
              <a:gd name="connsiteX2" fmla="*/ 1249949 w 1341572"/>
              <a:gd name="connsiteY2" fmla="*/ 894920 h 1373391"/>
              <a:gd name="connsiteX3" fmla="*/ 1154863 w 1341572"/>
              <a:gd name="connsiteY3" fmla="*/ 1041119 h 1373391"/>
              <a:gd name="connsiteX4" fmla="*/ 177386 w 1341572"/>
              <a:gd name="connsiteY4" fmla="*/ 1373391 h 1373391"/>
              <a:gd name="connsiteX5" fmla="*/ 86104 w 1341572"/>
              <a:gd name="connsiteY5" fmla="*/ 1260419 h 1373391"/>
              <a:gd name="connsiteX6" fmla="*/ 86484 w 1341572"/>
              <a:gd name="connsiteY6" fmla="*/ 2215 h 1373391"/>
              <a:gd name="connsiteX0" fmla="*/ 86484 w 1341572"/>
              <a:gd name="connsiteY0" fmla="*/ 2215 h 1380291"/>
              <a:gd name="connsiteX1" fmla="*/ 1252321 w 1341572"/>
              <a:gd name="connsiteY1" fmla="*/ 0 h 1380291"/>
              <a:gd name="connsiteX2" fmla="*/ 1249949 w 1341572"/>
              <a:gd name="connsiteY2" fmla="*/ 894920 h 1380291"/>
              <a:gd name="connsiteX3" fmla="*/ 1154863 w 1341572"/>
              <a:gd name="connsiteY3" fmla="*/ 1041119 h 1380291"/>
              <a:gd name="connsiteX4" fmla="*/ 177386 w 1341572"/>
              <a:gd name="connsiteY4" fmla="*/ 1373391 h 1380291"/>
              <a:gd name="connsiteX5" fmla="*/ 86104 w 1341572"/>
              <a:gd name="connsiteY5" fmla="*/ 1260419 h 1380291"/>
              <a:gd name="connsiteX6" fmla="*/ 86484 w 1341572"/>
              <a:gd name="connsiteY6" fmla="*/ 2215 h 1380291"/>
              <a:gd name="connsiteX0" fmla="*/ 86484 w 1341572"/>
              <a:gd name="connsiteY0" fmla="*/ 2215 h 1425606"/>
              <a:gd name="connsiteX1" fmla="*/ 1252321 w 1341572"/>
              <a:gd name="connsiteY1" fmla="*/ 0 h 1425606"/>
              <a:gd name="connsiteX2" fmla="*/ 1249949 w 1341572"/>
              <a:gd name="connsiteY2" fmla="*/ 894920 h 1425606"/>
              <a:gd name="connsiteX3" fmla="*/ 1154863 w 1341572"/>
              <a:gd name="connsiteY3" fmla="*/ 1041119 h 1425606"/>
              <a:gd name="connsiteX4" fmla="*/ 177386 w 1341572"/>
              <a:gd name="connsiteY4" fmla="*/ 1373391 h 1425606"/>
              <a:gd name="connsiteX5" fmla="*/ 86104 w 1341572"/>
              <a:gd name="connsiteY5" fmla="*/ 1260419 h 1425606"/>
              <a:gd name="connsiteX6" fmla="*/ 86484 w 1341572"/>
              <a:gd name="connsiteY6" fmla="*/ 2215 h 1425606"/>
              <a:gd name="connsiteX0" fmla="*/ 86484 w 1341572"/>
              <a:gd name="connsiteY0" fmla="*/ 2215 h 1410556"/>
              <a:gd name="connsiteX1" fmla="*/ 1252321 w 1341572"/>
              <a:gd name="connsiteY1" fmla="*/ 0 h 1410556"/>
              <a:gd name="connsiteX2" fmla="*/ 1249949 w 1341572"/>
              <a:gd name="connsiteY2" fmla="*/ 894920 h 1410556"/>
              <a:gd name="connsiteX3" fmla="*/ 1154863 w 1341572"/>
              <a:gd name="connsiteY3" fmla="*/ 1041119 h 1410556"/>
              <a:gd name="connsiteX4" fmla="*/ 177386 w 1341572"/>
              <a:gd name="connsiteY4" fmla="*/ 1373391 h 1410556"/>
              <a:gd name="connsiteX5" fmla="*/ 86104 w 1341572"/>
              <a:gd name="connsiteY5" fmla="*/ 1260419 h 1410556"/>
              <a:gd name="connsiteX6" fmla="*/ 86484 w 1341572"/>
              <a:gd name="connsiteY6" fmla="*/ 2215 h 1410556"/>
              <a:gd name="connsiteX0" fmla="*/ 86484 w 1341572"/>
              <a:gd name="connsiteY0" fmla="*/ 2215 h 1416904"/>
              <a:gd name="connsiteX1" fmla="*/ 1252321 w 1341572"/>
              <a:gd name="connsiteY1" fmla="*/ 0 h 1416904"/>
              <a:gd name="connsiteX2" fmla="*/ 1249949 w 1341572"/>
              <a:gd name="connsiteY2" fmla="*/ 894920 h 1416904"/>
              <a:gd name="connsiteX3" fmla="*/ 1154863 w 1341572"/>
              <a:gd name="connsiteY3" fmla="*/ 1041119 h 1416904"/>
              <a:gd name="connsiteX4" fmla="*/ 177386 w 1341572"/>
              <a:gd name="connsiteY4" fmla="*/ 1373391 h 1416904"/>
              <a:gd name="connsiteX5" fmla="*/ 86104 w 1341572"/>
              <a:gd name="connsiteY5" fmla="*/ 1260419 h 1416904"/>
              <a:gd name="connsiteX6" fmla="*/ 86484 w 1341572"/>
              <a:gd name="connsiteY6" fmla="*/ 2215 h 1416904"/>
              <a:gd name="connsiteX0" fmla="*/ 86484 w 1341572"/>
              <a:gd name="connsiteY0" fmla="*/ 2215 h 1383845"/>
              <a:gd name="connsiteX1" fmla="*/ 1252321 w 1341572"/>
              <a:gd name="connsiteY1" fmla="*/ 0 h 1383845"/>
              <a:gd name="connsiteX2" fmla="*/ 1249949 w 1341572"/>
              <a:gd name="connsiteY2" fmla="*/ 894920 h 1383845"/>
              <a:gd name="connsiteX3" fmla="*/ 1154863 w 1341572"/>
              <a:gd name="connsiteY3" fmla="*/ 1041119 h 1383845"/>
              <a:gd name="connsiteX4" fmla="*/ 177386 w 1341572"/>
              <a:gd name="connsiteY4" fmla="*/ 1373391 h 1383845"/>
              <a:gd name="connsiteX5" fmla="*/ 86104 w 1341572"/>
              <a:gd name="connsiteY5" fmla="*/ 1260419 h 1383845"/>
              <a:gd name="connsiteX6" fmla="*/ 86484 w 1341572"/>
              <a:gd name="connsiteY6" fmla="*/ 2215 h 1383845"/>
              <a:gd name="connsiteX0" fmla="*/ 86484 w 1341572"/>
              <a:gd name="connsiteY0" fmla="*/ 2215 h 1375531"/>
              <a:gd name="connsiteX1" fmla="*/ 1252321 w 1341572"/>
              <a:gd name="connsiteY1" fmla="*/ 0 h 1375531"/>
              <a:gd name="connsiteX2" fmla="*/ 1249949 w 1341572"/>
              <a:gd name="connsiteY2" fmla="*/ 894920 h 1375531"/>
              <a:gd name="connsiteX3" fmla="*/ 1154863 w 1341572"/>
              <a:gd name="connsiteY3" fmla="*/ 1041119 h 1375531"/>
              <a:gd name="connsiteX4" fmla="*/ 177386 w 1341572"/>
              <a:gd name="connsiteY4" fmla="*/ 1373391 h 1375531"/>
              <a:gd name="connsiteX5" fmla="*/ 86104 w 1341572"/>
              <a:gd name="connsiteY5" fmla="*/ 1260419 h 1375531"/>
              <a:gd name="connsiteX6" fmla="*/ 86484 w 1341572"/>
              <a:gd name="connsiteY6" fmla="*/ 2215 h 1375531"/>
              <a:gd name="connsiteX0" fmla="*/ 86484 w 1341572"/>
              <a:gd name="connsiteY0" fmla="*/ 2215 h 1375531"/>
              <a:gd name="connsiteX1" fmla="*/ 1252321 w 1341572"/>
              <a:gd name="connsiteY1" fmla="*/ 0 h 1375531"/>
              <a:gd name="connsiteX2" fmla="*/ 1249949 w 1341572"/>
              <a:gd name="connsiteY2" fmla="*/ 894920 h 1375531"/>
              <a:gd name="connsiteX3" fmla="*/ 1154863 w 1341572"/>
              <a:gd name="connsiteY3" fmla="*/ 1041119 h 1375531"/>
              <a:gd name="connsiteX4" fmla="*/ 177386 w 1341572"/>
              <a:gd name="connsiteY4" fmla="*/ 1373391 h 1375531"/>
              <a:gd name="connsiteX5" fmla="*/ 86104 w 1341572"/>
              <a:gd name="connsiteY5" fmla="*/ 1260419 h 1375531"/>
              <a:gd name="connsiteX6" fmla="*/ 86484 w 1341572"/>
              <a:gd name="connsiteY6" fmla="*/ 2215 h 1375531"/>
              <a:gd name="connsiteX0" fmla="*/ 380 w 1255468"/>
              <a:gd name="connsiteY0" fmla="*/ 2215 h 1375531"/>
              <a:gd name="connsiteX1" fmla="*/ 1166217 w 1255468"/>
              <a:gd name="connsiteY1" fmla="*/ 0 h 1375531"/>
              <a:gd name="connsiteX2" fmla="*/ 1163845 w 1255468"/>
              <a:gd name="connsiteY2" fmla="*/ 894920 h 1375531"/>
              <a:gd name="connsiteX3" fmla="*/ 1068759 w 1255468"/>
              <a:gd name="connsiteY3" fmla="*/ 1041119 h 1375531"/>
              <a:gd name="connsiteX4" fmla="*/ 91282 w 1255468"/>
              <a:gd name="connsiteY4" fmla="*/ 1373391 h 1375531"/>
              <a:gd name="connsiteX5" fmla="*/ 0 w 1255468"/>
              <a:gd name="connsiteY5" fmla="*/ 1260419 h 1375531"/>
              <a:gd name="connsiteX6" fmla="*/ 380 w 1255468"/>
              <a:gd name="connsiteY6" fmla="*/ 2215 h 1375531"/>
              <a:gd name="connsiteX0" fmla="*/ 380 w 1177259"/>
              <a:gd name="connsiteY0" fmla="*/ 2215 h 1375531"/>
              <a:gd name="connsiteX1" fmla="*/ 1166217 w 1177259"/>
              <a:gd name="connsiteY1" fmla="*/ 0 h 1375531"/>
              <a:gd name="connsiteX2" fmla="*/ 1163845 w 1177259"/>
              <a:gd name="connsiteY2" fmla="*/ 894920 h 1375531"/>
              <a:gd name="connsiteX3" fmla="*/ 1068759 w 1177259"/>
              <a:gd name="connsiteY3" fmla="*/ 1041119 h 1375531"/>
              <a:gd name="connsiteX4" fmla="*/ 91282 w 1177259"/>
              <a:gd name="connsiteY4" fmla="*/ 1373391 h 1375531"/>
              <a:gd name="connsiteX5" fmla="*/ 0 w 1177259"/>
              <a:gd name="connsiteY5" fmla="*/ 1260419 h 1375531"/>
              <a:gd name="connsiteX6" fmla="*/ 380 w 1177259"/>
              <a:gd name="connsiteY6" fmla="*/ 2215 h 1375531"/>
              <a:gd name="connsiteX0" fmla="*/ 380 w 1190511"/>
              <a:gd name="connsiteY0" fmla="*/ 2215 h 1375531"/>
              <a:gd name="connsiteX1" fmla="*/ 1166217 w 1190511"/>
              <a:gd name="connsiteY1" fmla="*/ 0 h 1375531"/>
              <a:gd name="connsiteX2" fmla="*/ 1163845 w 1190511"/>
              <a:gd name="connsiteY2" fmla="*/ 894920 h 1375531"/>
              <a:gd name="connsiteX3" fmla="*/ 1068759 w 1190511"/>
              <a:gd name="connsiteY3" fmla="*/ 1041119 h 1375531"/>
              <a:gd name="connsiteX4" fmla="*/ 91282 w 1190511"/>
              <a:gd name="connsiteY4" fmla="*/ 1373391 h 1375531"/>
              <a:gd name="connsiteX5" fmla="*/ 0 w 1190511"/>
              <a:gd name="connsiteY5" fmla="*/ 1260419 h 1375531"/>
              <a:gd name="connsiteX6" fmla="*/ 380 w 1190511"/>
              <a:gd name="connsiteY6" fmla="*/ 2215 h 1375531"/>
              <a:gd name="connsiteX0" fmla="*/ 380 w 1246984"/>
              <a:gd name="connsiteY0" fmla="*/ 2215 h 1375531"/>
              <a:gd name="connsiteX1" fmla="*/ 1166217 w 1246984"/>
              <a:gd name="connsiteY1" fmla="*/ 0 h 1375531"/>
              <a:gd name="connsiteX2" fmla="*/ 1163845 w 1246984"/>
              <a:gd name="connsiteY2" fmla="*/ 894920 h 1375531"/>
              <a:gd name="connsiteX3" fmla="*/ 1068759 w 1246984"/>
              <a:gd name="connsiteY3" fmla="*/ 1041119 h 1375531"/>
              <a:gd name="connsiteX4" fmla="*/ 91282 w 1246984"/>
              <a:gd name="connsiteY4" fmla="*/ 1373391 h 1375531"/>
              <a:gd name="connsiteX5" fmla="*/ 0 w 1246984"/>
              <a:gd name="connsiteY5" fmla="*/ 1260419 h 1375531"/>
              <a:gd name="connsiteX6" fmla="*/ 380 w 1246984"/>
              <a:gd name="connsiteY6" fmla="*/ 2215 h 1375531"/>
              <a:gd name="connsiteX0" fmla="*/ 380 w 1190511"/>
              <a:gd name="connsiteY0" fmla="*/ 2215 h 1375531"/>
              <a:gd name="connsiteX1" fmla="*/ 1166217 w 1190511"/>
              <a:gd name="connsiteY1" fmla="*/ 0 h 1375531"/>
              <a:gd name="connsiteX2" fmla="*/ 1163845 w 1190511"/>
              <a:gd name="connsiteY2" fmla="*/ 894920 h 1375531"/>
              <a:gd name="connsiteX3" fmla="*/ 1068759 w 1190511"/>
              <a:gd name="connsiteY3" fmla="*/ 1041119 h 1375531"/>
              <a:gd name="connsiteX4" fmla="*/ 91282 w 1190511"/>
              <a:gd name="connsiteY4" fmla="*/ 1373391 h 1375531"/>
              <a:gd name="connsiteX5" fmla="*/ 0 w 1190511"/>
              <a:gd name="connsiteY5" fmla="*/ 1260419 h 1375531"/>
              <a:gd name="connsiteX6" fmla="*/ 380 w 1190511"/>
              <a:gd name="connsiteY6" fmla="*/ 2215 h 1375531"/>
              <a:gd name="connsiteX0" fmla="*/ 380 w 1183009"/>
              <a:gd name="connsiteY0" fmla="*/ 2215 h 1375531"/>
              <a:gd name="connsiteX1" fmla="*/ 1166217 w 1183009"/>
              <a:gd name="connsiteY1" fmla="*/ 0 h 1375531"/>
              <a:gd name="connsiteX2" fmla="*/ 1163845 w 1183009"/>
              <a:gd name="connsiteY2" fmla="*/ 894920 h 1375531"/>
              <a:gd name="connsiteX3" fmla="*/ 1068759 w 1183009"/>
              <a:gd name="connsiteY3" fmla="*/ 1041119 h 1375531"/>
              <a:gd name="connsiteX4" fmla="*/ 91282 w 1183009"/>
              <a:gd name="connsiteY4" fmla="*/ 1373391 h 1375531"/>
              <a:gd name="connsiteX5" fmla="*/ 0 w 1183009"/>
              <a:gd name="connsiteY5" fmla="*/ 1260419 h 1375531"/>
              <a:gd name="connsiteX6" fmla="*/ 380 w 1183009"/>
              <a:gd name="connsiteY6" fmla="*/ 2215 h 1375531"/>
              <a:gd name="connsiteX0" fmla="*/ 380 w 1166217"/>
              <a:gd name="connsiteY0" fmla="*/ 2215 h 1375531"/>
              <a:gd name="connsiteX1" fmla="*/ 1166217 w 1166217"/>
              <a:gd name="connsiteY1" fmla="*/ 0 h 1375531"/>
              <a:gd name="connsiteX2" fmla="*/ 1163845 w 1166217"/>
              <a:gd name="connsiteY2" fmla="*/ 894920 h 1375531"/>
              <a:gd name="connsiteX3" fmla="*/ 1068759 w 1166217"/>
              <a:gd name="connsiteY3" fmla="*/ 1041119 h 1375531"/>
              <a:gd name="connsiteX4" fmla="*/ 91282 w 1166217"/>
              <a:gd name="connsiteY4" fmla="*/ 1373391 h 1375531"/>
              <a:gd name="connsiteX5" fmla="*/ 0 w 1166217"/>
              <a:gd name="connsiteY5" fmla="*/ 1260419 h 1375531"/>
              <a:gd name="connsiteX6" fmla="*/ 380 w 1166217"/>
              <a:gd name="connsiteY6" fmla="*/ 2215 h 1375531"/>
              <a:gd name="connsiteX0" fmla="*/ 6420 w 1172257"/>
              <a:gd name="connsiteY0" fmla="*/ 2215 h 1399780"/>
              <a:gd name="connsiteX1" fmla="*/ 1172257 w 1172257"/>
              <a:gd name="connsiteY1" fmla="*/ 0 h 1399780"/>
              <a:gd name="connsiteX2" fmla="*/ 1169885 w 1172257"/>
              <a:gd name="connsiteY2" fmla="*/ 894920 h 1399780"/>
              <a:gd name="connsiteX3" fmla="*/ 1074799 w 1172257"/>
              <a:gd name="connsiteY3" fmla="*/ 1041119 h 1399780"/>
              <a:gd name="connsiteX4" fmla="*/ 93519 w 1172257"/>
              <a:gd name="connsiteY4" fmla="*/ 1360100 h 1399780"/>
              <a:gd name="connsiteX5" fmla="*/ 6040 w 1172257"/>
              <a:gd name="connsiteY5" fmla="*/ 1260419 h 1399780"/>
              <a:gd name="connsiteX6" fmla="*/ 6420 w 1172257"/>
              <a:gd name="connsiteY6" fmla="*/ 2215 h 1399780"/>
              <a:gd name="connsiteX0" fmla="*/ 6420 w 1172257"/>
              <a:gd name="connsiteY0" fmla="*/ 2215 h 1400114"/>
              <a:gd name="connsiteX1" fmla="*/ 1172257 w 1172257"/>
              <a:gd name="connsiteY1" fmla="*/ 0 h 1400114"/>
              <a:gd name="connsiteX2" fmla="*/ 1169885 w 1172257"/>
              <a:gd name="connsiteY2" fmla="*/ 894920 h 1400114"/>
              <a:gd name="connsiteX3" fmla="*/ 1074799 w 1172257"/>
              <a:gd name="connsiteY3" fmla="*/ 1041119 h 1400114"/>
              <a:gd name="connsiteX4" fmla="*/ 93519 w 1172257"/>
              <a:gd name="connsiteY4" fmla="*/ 1360100 h 1400114"/>
              <a:gd name="connsiteX5" fmla="*/ 6040 w 1172257"/>
              <a:gd name="connsiteY5" fmla="*/ 1260419 h 1400114"/>
              <a:gd name="connsiteX6" fmla="*/ 6420 w 1172257"/>
              <a:gd name="connsiteY6" fmla="*/ 2215 h 1400114"/>
              <a:gd name="connsiteX0" fmla="*/ 666 w 1166503"/>
              <a:gd name="connsiteY0" fmla="*/ 2215 h 1363444"/>
              <a:gd name="connsiteX1" fmla="*/ 1166503 w 1166503"/>
              <a:gd name="connsiteY1" fmla="*/ 0 h 1363444"/>
              <a:gd name="connsiteX2" fmla="*/ 1164131 w 1166503"/>
              <a:gd name="connsiteY2" fmla="*/ 894920 h 1363444"/>
              <a:gd name="connsiteX3" fmla="*/ 1069045 w 1166503"/>
              <a:gd name="connsiteY3" fmla="*/ 1041119 h 1363444"/>
              <a:gd name="connsiteX4" fmla="*/ 87765 w 1166503"/>
              <a:gd name="connsiteY4" fmla="*/ 1360100 h 1363444"/>
              <a:gd name="connsiteX5" fmla="*/ 286 w 1166503"/>
              <a:gd name="connsiteY5" fmla="*/ 1260419 h 1363444"/>
              <a:gd name="connsiteX6" fmla="*/ 666 w 1166503"/>
              <a:gd name="connsiteY6" fmla="*/ 2215 h 1363444"/>
              <a:gd name="connsiteX0" fmla="*/ 666 w 1168481"/>
              <a:gd name="connsiteY0" fmla="*/ 6645 h 1367874"/>
              <a:gd name="connsiteX1" fmla="*/ 1156995 w 1168481"/>
              <a:gd name="connsiteY1" fmla="*/ 0 h 1367874"/>
              <a:gd name="connsiteX2" fmla="*/ 1164131 w 1168481"/>
              <a:gd name="connsiteY2" fmla="*/ 899350 h 1367874"/>
              <a:gd name="connsiteX3" fmla="*/ 1069045 w 1168481"/>
              <a:gd name="connsiteY3" fmla="*/ 1045549 h 1367874"/>
              <a:gd name="connsiteX4" fmla="*/ 87765 w 1168481"/>
              <a:gd name="connsiteY4" fmla="*/ 1364530 h 1367874"/>
              <a:gd name="connsiteX5" fmla="*/ 286 w 1168481"/>
              <a:gd name="connsiteY5" fmla="*/ 1264849 h 1367874"/>
              <a:gd name="connsiteX6" fmla="*/ 666 w 1168481"/>
              <a:gd name="connsiteY6" fmla="*/ 6645 h 1367874"/>
              <a:gd name="connsiteX0" fmla="*/ 666 w 1169473"/>
              <a:gd name="connsiteY0" fmla="*/ 6645 h 1367874"/>
              <a:gd name="connsiteX1" fmla="*/ 1156995 w 1169473"/>
              <a:gd name="connsiteY1" fmla="*/ 0 h 1367874"/>
              <a:gd name="connsiteX2" fmla="*/ 1164131 w 1169473"/>
              <a:gd name="connsiteY2" fmla="*/ 899350 h 1367874"/>
              <a:gd name="connsiteX3" fmla="*/ 1069045 w 1169473"/>
              <a:gd name="connsiteY3" fmla="*/ 1045549 h 1367874"/>
              <a:gd name="connsiteX4" fmla="*/ 87765 w 1169473"/>
              <a:gd name="connsiteY4" fmla="*/ 1364530 h 1367874"/>
              <a:gd name="connsiteX5" fmla="*/ 286 w 1169473"/>
              <a:gd name="connsiteY5" fmla="*/ 1264849 h 1367874"/>
              <a:gd name="connsiteX6" fmla="*/ 666 w 1169473"/>
              <a:gd name="connsiteY6" fmla="*/ 6645 h 1367874"/>
              <a:gd name="connsiteX0" fmla="*/ 666 w 1162319"/>
              <a:gd name="connsiteY0" fmla="*/ 6645 h 1367874"/>
              <a:gd name="connsiteX1" fmla="*/ 1156995 w 1162319"/>
              <a:gd name="connsiteY1" fmla="*/ 0 h 1367874"/>
              <a:gd name="connsiteX2" fmla="*/ 1154622 w 1162319"/>
              <a:gd name="connsiteY2" fmla="*/ 886059 h 1367874"/>
              <a:gd name="connsiteX3" fmla="*/ 1069045 w 1162319"/>
              <a:gd name="connsiteY3" fmla="*/ 1045549 h 1367874"/>
              <a:gd name="connsiteX4" fmla="*/ 87765 w 1162319"/>
              <a:gd name="connsiteY4" fmla="*/ 1364530 h 1367874"/>
              <a:gd name="connsiteX5" fmla="*/ 286 w 1162319"/>
              <a:gd name="connsiteY5" fmla="*/ 1264849 h 1367874"/>
              <a:gd name="connsiteX6" fmla="*/ 666 w 1162319"/>
              <a:gd name="connsiteY6" fmla="*/ 6645 h 1367874"/>
              <a:gd name="connsiteX0" fmla="*/ 666 w 1157419"/>
              <a:gd name="connsiteY0" fmla="*/ 6645 h 1367874"/>
              <a:gd name="connsiteX1" fmla="*/ 1156995 w 1157419"/>
              <a:gd name="connsiteY1" fmla="*/ 0 h 1367874"/>
              <a:gd name="connsiteX2" fmla="*/ 1154622 w 1157419"/>
              <a:gd name="connsiteY2" fmla="*/ 886059 h 1367874"/>
              <a:gd name="connsiteX3" fmla="*/ 1069045 w 1157419"/>
              <a:gd name="connsiteY3" fmla="*/ 1045549 h 1367874"/>
              <a:gd name="connsiteX4" fmla="*/ 87765 w 1157419"/>
              <a:gd name="connsiteY4" fmla="*/ 1364530 h 1367874"/>
              <a:gd name="connsiteX5" fmla="*/ 286 w 1157419"/>
              <a:gd name="connsiteY5" fmla="*/ 1264849 h 1367874"/>
              <a:gd name="connsiteX6" fmla="*/ 666 w 1157419"/>
              <a:gd name="connsiteY6" fmla="*/ 6645 h 1367874"/>
              <a:gd name="connsiteX0" fmla="*/ 666 w 1157396"/>
              <a:gd name="connsiteY0" fmla="*/ 6645 h 1367874"/>
              <a:gd name="connsiteX1" fmla="*/ 1156995 w 1157396"/>
              <a:gd name="connsiteY1" fmla="*/ 0 h 1367874"/>
              <a:gd name="connsiteX2" fmla="*/ 1154622 w 1157396"/>
              <a:gd name="connsiteY2" fmla="*/ 886059 h 1367874"/>
              <a:gd name="connsiteX3" fmla="*/ 1069045 w 1157396"/>
              <a:gd name="connsiteY3" fmla="*/ 1045549 h 1367874"/>
              <a:gd name="connsiteX4" fmla="*/ 87765 w 1157396"/>
              <a:gd name="connsiteY4" fmla="*/ 1364530 h 1367874"/>
              <a:gd name="connsiteX5" fmla="*/ 286 w 1157396"/>
              <a:gd name="connsiteY5" fmla="*/ 1264849 h 1367874"/>
              <a:gd name="connsiteX6" fmla="*/ 666 w 1157396"/>
              <a:gd name="connsiteY6" fmla="*/ 6645 h 1367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57396" h="1367874">
                <a:moveTo>
                  <a:pt x="666" y="6645"/>
                </a:moveTo>
                <a:lnTo>
                  <a:pt x="1156995" y="0"/>
                </a:lnTo>
                <a:cubicBezTo>
                  <a:pt x="1158834" y="268401"/>
                  <a:pt x="1153707" y="707372"/>
                  <a:pt x="1154622" y="886059"/>
                </a:cubicBezTo>
                <a:cubicBezTo>
                  <a:pt x="1155166" y="992262"/>
                  <a:pt x="1148916" y="1021182"/>
                  <a:pt x="1069045" y="1045549"/>
                </a:cubicBezTo>
                <a:cubicBezTo>
                  <a:pt x="743219" y="1156306"/>
                  <a:pt x="403734" y="1275799"/>
                  <a:pt x="87765" y="1364530"/>
                </a:cubicBezTo>
                <a:cubicBezTo>
                  <a:pt x="41105" y="1377633"/>
                  <a:pt x="1490" y="1353824"/>
                  <a:pt x="286" y="1264849"/>
                </a:cubicBezTo>
                <a:cubicBezTo>
                  <a:pt x="-918" y="1175874"/>
                  <a:pt x="2173" y="278739"/>
                  <a:pt x="666" y="66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lIns="251953" tIns="46792" rIns="215960" bIns="93583">
            <a:noAutofit/>
          </a:bodyPr>
          <a:lstStyle>
            <a:lvl1pPr marL="0" indent="0">
              <a:spcBef>
                <a:spcPts val="1800"/>
              </a:spcBef>
              <a:buFontTx/>
              <a:buNone/>
              <a:defRPr b="0" i="0">
                <a:solidFill>
                  <a:schemeClr val="tx1"/>
                </a:solidFill>
                <a:latin typeface="Univers 45 Light"/>
                <a:cs typeface="Univers 45 Light"/>
              </a:defRPr>
            </a:lvl1pPr>
            <a:lvl2pPr marL="457116" indent="0">
              <a:buFontTx/>
              <a:buNone/>
              <a:defRPr/>
            </a:lvl2pPr>
            <a:lvl3pPr marL="914231" indent="0">
              <a:buFontTx/>
              <a:buNone/>
              <a:defRPr/>
            </a:lvl3pPr>
            <a:lvl4pPr marL="1263417" indent="0">
              <a:buFontTx/>
              <a:buNone/>
              <a:defRPr/>
            </a:lvl4pPr>
            <a:lvl5pPr marL="1599906" indent="0">
              <a:buFontTx/>
              <a:buNone/>
              <a:defRPr/>
            </a:lvl5pPr>
          </a:lstStyle>
          <a:p>
            <a:pPr lvl="0"/>
            <a:r>
              <a:rPr lang="es-ES_tradnl" dirty="0"/>
              <a:t>Escriba el texto</a:t>
            </a:r>
            <a:endParaRPr lang="es-ES" dirty="0"/>
          </a:p>
        </p:txBody>
      </p:sp>
      <p:sp>
        <p:nvSpPr>
          <p:cNvPr id="25" name="Marcador de texto 4"/>
          <p:cNvSpPr>
            <a:spLocks noGrp="1"/>
          </p:cNvSpPr>
          <p:nvPr>
            <p:ph type="body" sz="quarter" idx="17" hasCustomPrompt="1"/>
          </p:nvPr>
        </p:nvSpPr>
        <p:spPr>
          <a:xfrm>
            <a:off x="1636713" y="425606"/>
            <a:ext cx="3033248" cy="1857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00" b="0" i="0" kern="300" spc="50" baseline="0">
                <a:solidFill>
                  <a:schemeClr val="tx2"/>
                </a:solidFill>
                <a:latin typeface="Univers 75 Black"/>
                <a:cs typeface="Univers 75 Black"/>
              </a:defRPr>
            </a:lvl1pPr>
            <a:lvl2pPr marL="0" indent="0">
              <a:spcBef>
                <a:spcPts val="400"/>
              </a:spcBef>
              <a:buFontTx/>
              <a:buNone/>
              <a:defRPr sz="900" kern="500" spc="50">
                <a:solidFill>
                  <a:schemeClr val="tx2"/>
                </a:solidFill>
              </a:defRPr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s-ES_tradnl" dirty="0"/>
              <a:t>NIVEL 1</a:t>
            </a:r>
            <a:endParaRPr lang="es-ES" dirty="0"/>
          </a:p>
        </p:txBody>
      </p:sp>
      <p:sp>
        <p:nvSpPr>
          <p:cNvPr id="26" name="Marcador de texto 4"/>
          <p:cNvSpPr>
            <a:spLocks noGrp="1"/>
          </p:cNvSpPr>
          <p:nvPr>
            <p:ph type="body" sz="quarter" idx="19" hasCustomPrompt="1"/>
          </p:nvPr>
        </p:nvSpPr>
        <p:spPr>
          <a:xfrm>
            <a:off x="1290469" y="195977"/>
            <a:ext cx="346244" cy="4130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FontTx/>
              <a:buNone/>
              <a:defRPr sz="2800" b="0" i="0" kern="300" spc="50" baseline="0">
                <a:solidFill>
                  <a:schemeClr val="tx2"/>
                </a:solidFill>
                <a:latin typeface="Univers 57 Condensed"/>
                <a:cs typeface="Univers 57 Condensed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900" kern="500" spc="50">
                <a:solidFill>
                  <a:schemeClr val="tx2"/>
                </a:solidFill>
              </a:defRPr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s-ES_tradnl" dirty="0"/>
              <a:t>N</a:t>
            </a:r>
            <a:endParaRPr lang="es-ES" dirty="0"/>
          </a:p>
        </p:txBody>
      </p:sp>
      <p:sp>
        <p:nvSpPr>
          <p:cNvPr id="27" name="Marcador de texto 10"/>
          <p:cNvSpPr>
            <a:spLocks noGrp="1"/>
          </p:cNvSpPr>
          <p:nvPr>
            <p:ph type="body" sz="quarter" idx="22" hasCustomPrompt="1"/>
          </p:nvPr>
        </p:nvSpPr>
        <p:spPr>
          <a:xfrm>
            <a:off x="1636713" y="603741"/>
            <a:ext cx="3033248" cy="1770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_tradnl" dirty="0"/>
              <a:t>NIVEL 2</a:t>
            </a:r>
            <a:endParaRPr lang="es-ES" dirty="0"/>
          </a:p>
        </p:txBody>
      </p:sp>
      <p:sp>
        <p:nvSpPr>
          <p:cNvPr id="28" name="Marcador de texto 10"/>
          <p:cNvSpPr>
            <a:spLocks noGrp="1"/>
          </p:cNvSpPr>
          <p:nvPr>
            <p:ph type="body" sz="quarter" idx="23" hasCustomPrompt="1"/>
          </p:nvPr>
        </p:nvSpPr>
        <p:spPr>
          <a:xfrm>
            <a:off x="1290469" y="603741"/>
            <a:ext cx="346244" cy="1770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_tradnl" dirty="0"/>
              <a:t>N</a:t>
            </a:r>
            <a:endParaRPr lang="es-ES" dirty="0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36297" y="188640"/>
            <a:ext cx="1691233" cy="572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232526416"/>
      </p:ext>
    </p:extLst>
  </p:cSld>
  <p:clrMapOvr>
    <a:masterClrMapping/>
  </p:clrMapOvr>
  <p:transition spd="slow">
    <p:circl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yec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posición de imagen 2"/>
          <p:cNvSpPr>
            <a:spLocks noGrp="1"/>
          </p:cNvSpPr>
          <p:nvPr>
            <p:ph type="pic" sz="quarter" idx="12"/>
          </p:nvPr>
        </p:nvSpPr>
        <p:spPr>
          <a:xfrm>
            <a:off x="-32732" y="1418281"/>
            <a:ext cx="9242422" cy="5490997"/>
          </a:xfrm>
          <a:custGeom>
            <a:avLst/>
            <a:gdLst>
              <a:gd name="connsiteX0" fmla="*/ 0 w 1295400"/>
              <a:gd name="connsiteY0" fmla="*/ 0 h 1295400"/>
              <a:gd name="connsiteX1" fmla="*/ 1295400 w 1295400"/>
              <a:gd name="connsiteY1" fmla="*/ 0 h 1295400"/>
              <a:gd name="connsiteX2" fmla="*/ 1295400 w 1295400"/>
              <a:gd name="connsiteY2" fmla="*/ 1295400 h 1295400"/>
              <a:gd name="connsiteX3" fmla="*/ 0 w 1295400"/>
              <a:gd name="connsiteY3" fmla="*/ 1295400 h 1295400"/>
              <a:gd name="connsiteX4" fmla="*/ 0 w 1295400"/>
              <a:gd name="connsiteY4" fmla="*/ 0 h 1295400"/>
              <a:gd name="connsiteX0" fmla="*/ 0 w 1295400"/>
              <a:gd name="connsiteY0" fmla="*/ 381000 h 1295400"/>
              <a:gd name="connsiteX1" fmla="*/ 1295400 w 1295400"/>
              <a:gd name="connsiteY1" fmla="*/ 0 h 1295400"/>
              <a:gd name="connsiteX2" fmla="*/ 1295400 w 1295400"/>
              <a:gd name="connsiteY2" fmla="*/ 1295400 h 1295400"/>
              <a:gd name="connsiteX3" fmla="*/ 0 w 1295400"/>
              <a:gd name="connsiteY3" fmla="*/ 1295400 h 1295400"/>
              <a:gd name="connsiteX4" fmla="*/ 0 w 1295400"/>
              <a:gd name="connsiteY4" fmla="*/ 381000 h 1295400"/>
              <a:gd name="connsiteX0" fmla="*/ 2646 w 1295400"/>
              <a:gd name="connsiteY0" fmla="*/ 575389 h 1295400"/>
              <a:gd name="connsiteX1" fmla="*/ 1295400 w 1295400"/>
              <a:gd name="connsiteY1" fmla="*/ 0 h 1295400"/>
              <a:gd name="connsiteX2" fmla="*/ 1295400 w 1295400"/>
              <a:gd name="connsiteY2" fmla="*/ 1295400 h 1295400"/>
              <a:gd name="connsiteX3" fmla="*/ 0 w 1295400"/>
              <a:gd name="connsiteY3" fmla="*/ 1295400 h 1295400"/>
              <a:gd name="connsiteX4" fmla="*/ 2646 w 1295400"/>
              <a:gd name="connsiteY4" fmla="*/ 575389 h 1295400"/>
              <a:gd name="connsiteX0" fmla="*/ 0 w 1299992"/>
              <a:gd name="connsiteY0" fmla="*/ 573663 h 1295400"/>
              <a:gd name="connsiteX1" fmla="*/ 1299992 w 1299992"/>
              <a:gd name="connsiteY1" fmla="*/ 0 h 1295400"/>
              <a:gd name="connsiteX2" fmla="*/ 1299992 w 1299992"/>
              <a:gd name="connsiteY2" fmla="*/ 1295400 h 1295400"/>
              <a:gd name="connsiteX3" fmla="*/ 4592 w 1299992"/>
              <a:gd name="connsiteY3" fmla="*/ 1295400 h 1295400"/>
              <a:gd name="connsiteX4" fmla="*/ 0 w 1299992"/>
              <a:gd name="connsiteY4" fmla="*/ 573663 h 1295400"/>
              <a:gd name="connsiteX0" fmla="*/ 45 w 1300037"/>
              <a:gd name="connsiteY0" fmla="*/ 573663 h 1295400"/>
              <a:gd name="connsiteX1" fmla="*/ 1300037 w 1300037"/>
              <a:gd name="connsiteY1" fmla="*/ 0 h 1295400"/>
              <a:gd name="connsiteX2" fmla="*/ 1300037 w 1300037"/>
              <a:gd name="connsiteY2" fmla="*/ 1295400 h 1295400"/>
              <a:gd name="connsiteX3" fmla="*/ 501 w 1300037"/>
              <a:gd name="connsiteY3" fmla="*/ 1291947 h 1295400"/>
              <a:gd name="connsiteX4" fmla="*/ 45 w 1300037"/>
              <a:gd name="connsiteY4" fmla="*/ 573663 h 1295400"/>
              <a:gd name="connsiteX0" fmla="*/ 45 w 1309343"/>
              <a:gd name="connsiteY0" fmla="*/ 573663 h 1291947"/>
              <a:gd name="connsiteX1" fmla="*/ 1300037 w 1309343"/>
              <a:gd name="connsiteY1" fmla="*/ 0 h 1291947"/>
              <a:gd name="connsiteX2" fmla="*/ 1309343 w 1309343"/>
              <a:gd name="connsiteY2" fmla="*/ 1291947 h 1291947"/>
              <a:gd name="connsiteX3" fmla="*/ 501 w 1309343"/>
              <a:gd name="connsiteY3" fmla="*/ 1291947 h 1291947"/>
              <a:gd name="connsiteX4" fmla="*/ 45 w 1309343"/>
              <a:gd name="connsiteY4" fmla="*/ 573663 h 1291947"/>
              <a:gd name="connsiteX0" fmla="*/ 45 w 1309343"/>
              <a:gd name="connsiteY0" fmla="*/ 580569 h 1298853"/>
              <a:gd name="connsiteX1" fmla="*/ 1306241 w 1309343"/>
              <a:gd name="connsiteY1" fmla="*/ 0 h 1298853"/>
              <a:gd name="connsiteX2" fmla="*/ 1309343 w 1309343"/>
              <a:gd name="connsiteY2" fmla="*/ 1298853 h 1298853"/>
              <a:gd name="connsiteX3" fmla="*/ 501 w 1309343"/>
              <a:gd name="connsiteY3" fmla="*/ 1298853 h 1298853"/>
              <a:gd name="connsiteX4" fmla="*/ 45 w 1309343"/>
              <a:gd name="connsiteY4" fmla="*/ 580569 h 1298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9343" h="1298853">
                <a:moveTo>
                  <a:pt x="45" y="580569"/>
                </a:moveTo>
                <a:lnTo>
                  <a:pt x="1306241" y="0"/>
                </a:lnTo>
                <a:lnTo>
                  <a:pt x="1309343" y="1298853"/>
                </a:lnTo>
                <a:lnTo>
                  <a:pt x="501" y="1298853"/>
                </a:lnTo>
                <a:cubicBezTo>
                  <a:pt x="-1030" y="1058274"/>
                  <a:pt x="1576" y="821148"/>
                  <a:pt x="45" y="580569"/>
                </a:cubicBezTo>
                <a:close/>
              </a:path>
            </a:pathLst>
          </a:custGeom>
          <a:ln>
            <a:noFill/>
          </a:ln>
        </p:spPr>
        <p:txBody>
          <a:bodyPr vert="horz" lIns="91423" tIns="45711" rIns="91423" bIns="45711" anchor="b" anchorCtr="0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endParaRPr lang="es-ES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5" hasCustomPrompt="1"/>
          </p:nvPr>
        </p:nvSpPr>
        <p:spPr>
          <a:xfrm>
            <a:off x="1636713" y="1296989"/>
            <a:ext cx="3966332" cy="7269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4800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_tradnl" dirty="0"/>
              <a:t>Título</a:t>
            </a:r>
            <a:endParaRPr lang="es-ES" dirty="0"/>
          </a:p>
        </p:txBody>
      </p:sp>
      <p:sp>
        <p:nvSpPr>
          <p:cNvPr id="15" name="Marcador de texto 4"/>
          <p:cNvSpPr>
            <a:spLocks noGrp="1"/>
          </p:cNvSpPr>
          <p:nvPr>
            <p:ph type="body" sz="quarter" idx="14" hasCustomPrompt="1"/>
          </p:nvPr>
        </p:nvSpPr>
        <p:spPr>
          <a:xfrm>
            <a:off x="1343707" y="2984919"/>
            <a:ext cx="2176043" cy="3480374"/>
          </a:xfrm>
          <a:custGeom>
            <a:avLst/>
            <a:gdLst>
              <a:gd name="connsiteX0" fmla="*/ 0 w 1152525"/>
              <a:gd name="connsiteY0" fmla="*/ 0 h 1295400"/>
              <a:gd name="connsiteX1" fmla="*/ 1152525 w 1152525"/>
              <a:gd name="connsiteY1" fmla="*/ 0 h 1295400"/>
              <a:gd name="connsiteX2" fmla="*/ 1152525 w 1152525"/>
              <a:gd name="connsiteY2" fmla="*/ 1295400 h 1295400"/>
              <a:gd name="connsiteX3" fmla="*/ 0 w 1152525"/>
              <a:gd name="connsiteY3" fmla="*/ 1295400 h 1295400"/>
              <a:gd name="connsiteX4" fmla="*/ 0 w 1152525"/>
              <a:gd name="connsiteY4" fmla="*/ 0 h 1295400"/>
              <a:gd name="connsiteX0" fmla="*/ 0 w 1165225"/>
              <a:gd name="connsiteY0" fmla="*/ 0 h 1295400"/>
              <a:gd name="connsiteX1" fmla="*/ 1152525 w 1165225"/>
              <a:gd name="connsiteY1" fmla="*/ 0 h 1295400"/>
              <a:gd name="connsiteX2" fmla="*/ 1165225 w 1165225"/>
              <a:gd name="connsiteY2" fmla="*/ 838200 h 1295400"/>
              <a:gd name="connsiteX3" fmla="*/ 0 w 1165225"/>
              <a:gd name="connsiteY3" fmla="*/ 1295400 h 1295400"/>
              <a:gd name="connsiteX4" fmla="*/ 0 w 1165225"/>
              <a:gd name="connsiteY4" fmla="*/ 0 h 1295400"/>
              <a:gd name="connsiteX0" fmla="*/ 9509 w 1174734"/>
              <a:gd name="connsiteY0" fmla="*/ 0 h 1421663"/>
              <a:gd name="connsiteX1" fmla="*/ 1162034 w 1174734"/>
              <a:gd name="connsiteY1" fmla="*/ 0 h 1421663"/>
              <a:gd name="connsiteX2" fmla="*/ 1174734 w 1174734"/>
              <a:gd name="connsiteY2" fmla="*/ 838200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4734"/>
              <a:gd name="connsiteY0" fmla="*/ 0 h 1421663"/>
              <a:gd name="connsiteX1" fmla="*/ 1162034 w 1174734"/>
              <a:gd name="connsiteY1" fmla="*/ 0 h 1421663"/>
              <a:gd name="connsiteX2" fmla="*/ 1174734 w 1174734"/>
              <a:gd name="connsiteY2" fmla="*/ 1010981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4734"/>
              <a:gd name="connsiteY0" fmla="*/ 0 h 1421663"/>
              <a:gd name="connsiteX1" fmla="*/ 1169641 w 1174734"/>
              <a:gd name="connsiteY1" fmla="*/ 0 h 1421663"/>
              <a:gd name="connsiteX2" fmla="*/ 1174734 w 1174734"/>
              <a:gd name="connsiteY2" fmla="*/ 1010981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5774"/>
              <a:gd name="connsiteY0" fmla="*/ 2215 h 1423878"/>
              <a:gd name="connsiteX1" fmla="*/ 1175346 w 1175774"/>
              <a:gd name="connsiteY1" fmla="*/ 0 h 1423878"/>
              <a:gd name="connsiteX2" fmla="*/ 1174734 w 1175774"/>
              <a:gd name="connsiteY2" fmla="*/ 1013196 h 1423878"/>
              <a:gd name="connsiteX3" fmla="*/ 0 w 1175774"/>
              <a:gd name="connsiteY3" fmla="*/ 1423878 h 1423878"/>
              <a:gd name="connsiteX4" fmla="*/ 9509 w 1175774"/>
              <a:gd name="connsiteY4" fmla="*/ 2215 h 1423878"/>
              <a:gd name="connsiteX0" fmla="*/ 5706 w 1171971"/>
              <a:gd name="connsiteY0" fmla="*/ 2215 h 1421663"/>
              <a:gd name="connsiteX1" fmla="*/ 1171543 w 1171971"/>
              <a:gd name="connsiteY1" fmla="*/ 0 h 1421663"/>
              <a:gd name="connsiteX2" fmla="*/ 1170931 w 1171971"/>
              <a:gd name="connsiteY2" fmla="*/ 1013196 h 1421663"/>
              <a:gd name="connsiteX3" fmla="*/ 0 w 1171971"/>
              <a:gd name="connsiteY3" fmla="*/ 1421663 h 1421663"/>
              <a:gd name="connsiteX4" fmla="*/ 5706 w 1171971"/>
              <a:gd name="connsiteY4" fmla="*/ 2215 h 1421663"/>
              <a:gd name="connsiteX0" fmla="*/ 916 w 1167181"/>
              <a:gd name="connsiteY0" fmla="*/ 2215 h 1417233"/>
              <a:gd name="connsiteX1" fmla="*/ 1166753 w 1167181"/>
              <a:gd name="connsiteY1" fmla="*/ 0 h 1417233"/>
              <a:gd name="connsiteX2" fmla="*/ 1166141 w 1167181"/>
              <a:gd name="connsiteY2" fmla="*/ 1013196 h 1417233"/>
              <a:gd name="connsiteX3" fmla="*/ 915 w 1167181"/>
              <a:gd name="connsiteY3" fmla="*/ 1417233 h 1417233"/>
              <a:gd name="connsiteX4" fmla="*/ 916 w 1167181"/>
              <a:gd name="connsiteY4" fmla="*/ 2215 h 1417233"/>
              <a:gd name="connsiteX0" fmla="*/ 916 w 1167181"/>
              <a:gd name="connsiteY0" fmla="*/ 2215 h 1403942"/>
              <a:gd name="connsiteX1" fmla="*/ 1166753 w 1167181"/>
              <a:gd name="connsiteY1" fmla="*/ 0 h 1403942"/>
              <a:gd name="connsiteX2" fmla="*/ 1166141 w 1167181"/>
              <a:gd name="connsiteY2" fmla="*/ 1013196 h 1403942"/>
              <a:gd name="connsiteX3" fmla="*/ 915 w 1167181"/>
              <a:gd name="connsiteY3" fmla="*/ 1403942 h 1403942"/>
              <a:gd name="connsiteX4" fmla="*/ 916 w 1167181"/>
              <a:gd name="connsiteY4" fmla="*/ 2215 h 1403942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86483 w 1252749"/>
              <a:gd name="connsiteY3" fmla="*/ 1403942 h 1438510"/>
              <a:gd name="connsiteX4" fmla="*/ 86104 w 1252749"/>
              <a:gd name="connsiteY4" fmla="*/ 1260419 h 1438510"/>
              <a:gd name="connsiteX5" fmla="*/ 86484 w 1252749"/>
              <a:gd name="connsiteY5" fmla="*/ 2215 h 1438510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177386 w 1252749"/>
              <a:gd name="connsiteY3" fmla="*/ 1373391 h 1438510"/>
              <a:gd name="connsiteX4" fmla="*/ 86483 w 1252749"/>
              <a:gd name="connsiteY4" fmla="*/ 1403942 h 1438510"/>
              <a:gd name="connsiteX5" fmla="*/ 86104 w 1252749"/>
              <a:gd name="connsiteY5" fmla="*/ 1260419 h 1438510"/>
              <a:gd name="connsiteX6" fmla="*/ 86484 w 1252749"/>
              <a:gd name="connsiteY6" fmla="*/ 2215 h 1438510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1154863 w 1252749"/>
              <a:gd name="connsiteY3" fmla="*/ 1041119 h 1438510"/>
              <a:gd name="connsiteX4" fmla="*/ 177386 w 1252749"/>
              <a:gd name="connsiteY4" fmla="*/ 1373391 h 1438510"/>
              <a:gd name="connsiteX5" fmla="*/ 86483 w 1252749"/>
              <a:gd name="connsiteY5" fmla="*/ 1403942 h 1438510"/>
              <a:gd name="connsiteX6" fmla="*/ 86104 w 1252749"/>
              <a:gd name="connsiteY6" fmla="*/ 1260419 h 1438510"/>
              <a:gd name="connsiteX7" fmla="*/ 86484 w 1252749"/>
              <a:gd name="connsiteY7" fmla="*/ 2215 h 1438510"/>
              <a:gd name="connsiteX0" fmla="*/ 86484 w 1337915"/>
              <a:gd name="connsiteY0" fmla="*/ 2215 h 1438510"/>
              <a:gd name="connsiteX1" fmla="*/ 1252321 w 1337915"/>
              <a:gd name="connsiteY1" fmla="*/ 0 h 1438510"/>
              <a:gd name="connsiteX2" fmla="*/ 1249949 w 1337915"/>
              <a:gd name="connsiteY2" fmla="*/ 894920 h 1438510"/>
              <a:gd name="connsiteX3" fmla="*/ 1251709 w 1337915"/>
              <a:gd name="connsiteY3" fmla="*/ 1013196 h 1438510"/>
              <a:gd name="connsiteX4" fmla="*/ 1154863 w 1337915"/>
              <a:gd name="connsiteY4" fmla="*/ 1041119 h 1438510"/>
              <a:gd name="connsiteX5" fmla="*/ 177386 w 1337915"/>
              <a:gd name="connsiteY5" fmla="*/ 1373391 h 1438510"/>
              <a:gd name="connsiteX6" fmla="*/ 86483 w 1337915"/>
              <a:gd name="connsiteY6" fmla="*/ 1403942 h 1438510"/>
              <a:gd name="connsiteX7" fmla="*/ 86104 w 1337915"/>
              <a:gd name="connsiteY7" fmla="*/ 1260419 h 1438510"/>
              <a:gd name="connsiteX8" fmla="*/ 86484 w 1337915"/>
              <a:gd name="connsiteY8" fmla="*/ 2215 h 1438510"/>
              <a:gd name="connsiteX0" fmla="*/ 86484 w 1341572"/>
              <a:gd name="connsiteY0" fmla="*/ 2215 h 1438510"/>
              <a:gd name="connsiteX1" fmla="*/ 1252321 w 1341572"/>
              <a:gd name="connsiteY1" fmla="*/ 0 h 1438510"/>
              <a:gd name="connsiteX2" fmla="*/ 1249949 w 1341572"/>
              <a:gd name="connsiteY2" fmla="*/ 894920 h 1438510"/>
              <a:gd name="connsiteX3" fmla="*/ 1154863 w 1341572"/>
              <a:gd name="connsiteY3" fmla="*/ 1041119 h 1438510"/>
              <a:gd name="connsiteX4" fmla="*/ 177386 w 1341572"/>
              <a:gd name="connsiteY4" fmla="*/ 1373391 h 1438510"/>
              <a:gd name="connsiteX5" fmla="*/ 86483 w 1341572"/>
              <a:gd name="connsiteY5" fmla="*/ 1403942 h 1438510"/>
              <a:gd name="connsiteX6" fmla="*/ 86104 w 1341572"/>
              <a:gd name="connsiteY6" fmla="*/ 1260419 h 1438510"/>
              <a:gd name="connsiteX7" fmla="*/ 86484 w 1341572"/>
              <a:gd name="connsiteY7" fmla="*/ 2215 h 1438510"/>
              <a:gd name="connsiteX0" fmla="*/ 86484 w 1341572"/>
              <a:gd name="connsiteY0" fmla="*/ 2215 h 1373391"/>
              <a:gd name="connsiteX1" fmla="*/ 1252321 w 1341572"/>
              <a:gd name="connsiteY1" fmla="*/ 0 h 1373391"/>
              <a:gd name="connsiteX2" fmla="*/ 1249949 w 1341572"/>
              <a:gd name="connsiteY2" fmla="*/ 894920 h 1373391"/>
              <a:gd name="connsiteX3" fmla="*/ 1154863 w 1341572"/>
              <a:gd name="connsiteY3" fmla="*/ 1041119 h 1373391"/>
              <a:gd name="connsiteX4" fmla="*/ 177386 w 1341572"/>
              <a:gd name="connsiteY4" fmla="*/ 1373391 h 1373391"/>
              <a:gd name="connsiteX5" fmla="*/ 86104 w 1341572"/>
              <a:gd name="connsiteY5" fmla="*/ 1260419 h 1373391"/>
              <a:gd name="connsiteX6" fmla="*/ 86484 w 1341572"/>
              <a:gd name="connsiteY6" fmla="*/ 2215 h 1373391"/>
              <a:gd name="connsiteX0" fmla="*/ 86484 w 1341572"/>
              <a:gd name="connsiteY0" fmla="*/ 2215 h 1380291"/>
              <a:gd name="connsiteX1" fmla="*/ 1252321 w 1341572"/>
              <a:gd name="connsiteY1" fmla="*/ 0 h 1380291"/>
              <a:gd name="connsiteX2" fmla="*/ 1249949 w 1341572"/>
              <a:gd name="connsiteY2" fmla="*/ 894920 h 1380291"/>
              <a:gd name="connsiteX3" fmla="*/ 1154863 w 1341572"/>
              <a:gd name="connsiteY3" fmla="*/ 1041119 h 1380291"/>
              <a:gd name="connsiteX4" fmla="*/ 177386 w 1341572"/>
              <a:gd name="connsiteY4" fmla="*/ 1373391 h 1380291"/>
              <a:gd name="connsiteX5" fmla="*/ 86104 w 1341572"/>
              <a:gd name="connsiteY5" fmla="*/ 1260419 h 1380291"/>
              <a:gd name="connsiteX6" fmla="*/ 86484 w 1341572"/>
              <a:gd name="connsiteY6" fmla="*/ 2215 h 1380291"/>
              <a:gd name="connsiteX0" fmla="*/ 86484 w 1341572"/>
              <a:gd name="connsiteY0" fmla="*/ 2215 h 1425606"/>
              <a:gd name="connsiteX1" fmla="*/ 1252321 w 1341572"/>
              <a:gd name="connsiteY1" fmla="*/ 0 h 1425606"/>
              <a:gd name="connsiteX2" fmla="*/ 1249949 w 1341572"/>
              <a:gd name="connsiteY2" fmla="*/ 894920 h 1425606"/>
              <a:gd name="connsiteX3" fmla="*/ 1154863 w 1341572"/>
              <a:gd name="connsiteY3" fmla="*/ 1041119 h 1425606"/>
              <a:gd name="connsiteX4" fmla="*/ 177386 w 1341572"/>
              <a:gd name="connsiteY4" fmla="*/ 1373391 h 1425606"/>
              <a:gd name="connsiteX5" fmla="*/ 86104 w 1341572"/>
              <a:gd name="connsiteY5" fmla="*/ 1260419 h 1425606"/>
              <a:gd name="connsiteX6" fmla="*/ 86484 w 1341572"/>
              <a:gd name="connsiteY6" fmla="*/ 2215 h 1425606"/>
              <a:gd name="connsiteX0" fmla="*/ 86484 w 1341572"/>
              <a:gd name="connsiteY0" fmla="*/ 2215 h 1410556"/>
              <a:gd name="connsiteX1" fmla="*/ 1252321 w 1341572"/>
              <a:gd name="connsiteY1" fmla="*/ 0 h 1410556"/>
              <a:gd name="connsiteX2" fmla="*/ 1249949 w 1341572"/>
              <a:gd name="connsiteY2" fmla="*/ 894920 h 1410556"/>
              <a:gd name="connsiteX3" fmla="*/ 1154863 w 1341572"/>
              <a:gd name="connsiteY3" fmla="*/ 1041119 h 1410556"/>
              <a:gd name="connsiteX4" fmla="*/ 177386 w 1341572"/>
              <a:gd name="connsiteY4" fmla="*/ 1373391 h 1410556"/>
              <a:gd name="connsiteX5" fmla="*/ 86104 w 1341572"/>
              <a:gd name="connsiteY5" fmla="*/ 1260419 h 1410556"/>
              <a:gd name="connsiteX6" fmla="*/ 86484 w 1341572"/>
              <a:gd name="connsiteY6" fmla="*/ 2215 h 1410556"/>
              <a:gd name="connsiteX0" fmla="*/ 86484 w 1341572"/>
              <a:gd name="connsiteY0" fmla="*/ 2215 h 1416904"/>
              <a:gd name="connsiteX1" fmla="*/ 1252321 w 1341572"/>
              <a:gd name="connsiteY1" fmla="*/ 0 h 1416904"/>
              <a:gd name="connsiteX2" fmla="*/ 1249949 w 1341572"/>
              <a:gd name="connsiteY2" fmla="*/ 894920 h 1416904"/>
              <a:gd name="connsiteX3" fmla="*/ 1154863 w 1341572"/>
              <a:gd name="connsiteY3" fmla="*/ 1041119 h 1416904"/>
              <a:gd name="connsiteX4" fmla="*/ 177386 w 1341572"/>
              <a:gd name="connsiteY4" fmla="*/ 1373391 h 1416904"/>
              <a:gd name="connsiteX5" fmla="*/ 86104 w 1341572"/>
              <a:gd name="connsiteY5" fmla="*/ 1260419 h 1416904"/>
              <a:gd name="connsiteX6" fmla="*/ 86484 w 1341572"/>
              <a:gd name="connsiteY6" fmla="*/ 2215 h 1416904"/>
              <a:gd name="connsiteX0" fmla="*/ 86484 w 1341572"/>
              <a:gd name="connsiteY0" fmla="*/ 2215 h 1383845"/>
              <a:gd name="connsiteX1" fmla="*/ 1252321 w 1341572"/>
              <a:gd name="connsiteY1" fmla="*/ 0 h 1383845"/>
              <a:gd name="connsiteX2" fmla="*/ 1249949 w 1341572"/>
              <a:gd name="connsiteY2" fmla="*/ 894920 h 1383845"/>
              <a:gd name="connsiteX3" fmla="*/ 1154863 w 1341572"/>
              <a:gd name="connsiteY3" fmla="*/ 1041119 h 1383845"/>
              <a:gd name="connsiteX4" fmla="*/ 177386 w 1341572"/>
              <a:gd name="connsiteY4" fmla="*/ 1373391 h 1383845"/>
              <a:gd name="connsiteX5" fmla="*/ 86104 w 1341572"/>
              <a:gd name="connsiteY5" fmla="*/ 1260419 h 1383845"/>
              <a:gd name="connsiteX6" fmla="*/ 86484 w 1341572"/>
              <a:gd name="connsiteY6" fmla="*/ 2215 h 1383845"/>
              <a:gd name="connsiteX0" fmla="*/ 86484 w 1341572"/>
              <a:gd name="connsiteY0" fmla="*/ 2215 h 1375531"/>
              <a:gd name="connsiteX1" fmla="*/ 1252321 w 1341572"/>
              <a:gd name="connsiteY1" fmla="*/ 0 h 1375531"/>
              <a:gd name="connsiteX2" fmla="*/ 1249949 w 1341572"/>
              <a:gd name="connsiteY2" fmla="*/ 894920 h 1375531"/>
              <a:gd name="connsiteX3" fmla="*/ 1154863 w 1341572"/>
              <a:gd name="connsiteY3" fmla="*/ 1041119 h 1375531"/>
              <a:gd name="connsiteX4" fmla="*/ 177386 w 1341572"/>
              <a:gd name="connsiteY4" fmla="*/ 1373391 h 1375531"/>
              <a:gd name="connsiteX5" fmla="*/ 86104 w 1341572"/>
              <a:gd name="connsiteY5" fmla="*/ 1260419 h 1375531"/>
              <a:gd name="connsiteX6" fmla="*/ 86484 w 1341572"/>
              <a:gd name="connsiteY6" fmla="*/ 2215 h 1375531"/>
              <a:gd name="connsiteX0" fmla="*/ 86484 w 1341572"/>
              <a:gd name="connsiteY0" fmla="*/ 2215 h 1375531"/>
              <a:gd name="connsiteX1" fmla="*/ 1252321 w 1341572"/>
              <a:gd name="connsiteY1" fmla="*/ 0 h 1375531"/>
              <a:gd name="connsiteX2" fmla="*/ 1249949 w 1341572"/>
              <a:gd name="connsiteY2" fmla="*/ 894920 h 1375531"/>
              <a:gd name="connsiteX3" fmla="*/ 1154863 w 1341572"/>
              <a:gd name="connsiteY3" fmla="*/ 1041119 h 1375531"/>
              <a:gd name="connsiteX4" fmla="*/ 177386 w 1341572"/>
              <a:gd name="connsiteY4" fmla="*/ 1373391 h 1375531"/>
              <a:gd name="connsiteX5" fmla="*/ 86104 w 1341572"/>
              <a:gd name="connsiteY5" fmla="*/ 1260419 h 1375531"/>
              <a:gd name="connsiteX6" fmla="*/ 86484 w 1341572"/>
              <a:gd name="connsiteY6" fmla="*/ 2215 h 1375531"/>
              <a:gd name="connsiteX0" fmla="*/ 380 w 1255468"/>
              <a:gd name="connsiteY0" fmla="*/ 2215 h 1375531"/>
              <a:gd name="connsiteX1" fmla="*/ 1166217 w 1255468"/>
              <a:gd name="connsiteY1" fmla="*/ 0 h 1375531"/>
              <a:gd name="connsiteX2" fmla="*/ 1163845 w 1255468"/>
              <a:gd name="connsiteY2" fmla="*/ 894920 h 1375531"/>
              <a:gd name="connsiteX3" fmla="*/ 1068759 w 1255468"/>
              <a:gd name="connsiteY3" fmla="*/ 1041119 h 1375531"/>
              <a:gd name="connsiteX4" fmla="*/ 91282 w 1255468"/>
              <a:gd name="connsiteY4" fmla="*/ 1373391 h 1375531"/>
              <a:gd name="connsiteX5" fmla="*/ 0 w 1255468"/>
              <a:gd name="connsiteY5" fmla="*/ 1260419 h 1375531"/>
              <a:gd name="connsiteX6" fmla="*/ 380 w 1255468"/>
              <a:gd name="connsiteY6" fmla="*/ 2215 h 1375531"/>
              <a:gd name="connsiteX0" fmla="*/ 380 w 1177259"/>
              <a:gd name="connsiteY0" fmla="*/ 2215 h 1375531"/>
              <a:gd name="connsiteX1" fmla="*/ 1166217 w 1177259"/>
              <a:gd name="connsiteY1" fmla="*/ 0 h 1375531"/>
              <a:gd name="connsiteX2" fmla="*/ 1163845 w 1177259"/>
              <a:gd name="connsiteY2" fmla="*/ 894920 h 1375531"/>
              <a:gd name="connsiteX3" fmla="*/ 1068759 w 1177259"/>
              <a:gd name="connsiteY3" fmla="*/ 1041119 h 1375531"/>
              <a:gd name="connsiteX4" fmla="*/ 91282 w 1177259"/>
              <a:gd name="connsiteY4" fmla="*/ 1373391 h 1375531"/>
              <a:gd name="connsiteX5" fmla="*/ 0 w 1177259"/>
              <a:gd name="connsiteY5" fmla="*/ 1260419 h 1375531"/>
              <a:gd name="connsiteX6" fmla="*/ 380 w 1177259"/>
              <a:gd name="connsiteY6" fmla="*/ 2215 h 1375531"/>
              <a:gd name="connsiteX0" fmla="*/ 380 w 1190511"/>
              <a:gd name="connsiteY0" fmla="*/ 2215 h 1375531"/>
              <a:gd name="connsiteX1" fmla="*/ 1166217 w 1190511"/>
              <a:gd name="connsiteY1" fmla="*/ 0 h 1375531"/>
              <a:gd name="connsiteX2" fmla="*/ 1163845 w 1190511"/>
              <a:gd name="connsiteY2" fmla="*/ 894920 h 1375531"/>
              <a:gd name="connsiteX3" fmla="*/ 1068759 w 1190511"/>
              <a:gd name="connsiteY3" fmla="*/ 1041119 h 1375531"/>
              <a:gd name="connsiteX4" fmla="*/ 91282 w 1190511"/>
              <a:gd name="connsiteY4" fmla="*/ 1373391 h 1375531"/>
              <a:gd name="connsiteX5" fmla="*/ 0 w 1190511"/>
              <a:gd name="connsiteY5" fmla="*/ 1260419 h 1375531"/>
              <a:gd name="connsiteX6" fmla="*/ 380 w 1190511"/>
              <a:gd name="connsiteY6" fmla="*/ 2215 h 1375531"/>
              <a:gd name="connsiteX0" fmla="*/ 380 w 1246984"/>
              <a:gd name="connsiteY0" fmla="*/ 2215 h 1375531"/>
              <a:gd name="connsiteX1" fmla="*/ 1166217 w 1246984"/>
              <a:gd name="connsiteY1" fmla="*/ 0 h 1375531"/>
              <a:gd name="connsiteX2" fmla="*/ 1163845 w 1246984"/>
              <a:gd name="connsiteY2" fmla="*/ 894920 h 1375531"/>
              <a:gd name="connsiteX3" fmla="*/ 1068759 w 1246984"/>
              <a:gd name="connsiteY3" fmla="*/ 1041119 h 1375531"/>
              <a:gd name="connsiteX4" fmla="*/ 91282 w 1246984"/>
              <a:gd name="connsiteY4" fmla="*/ 1373391 h 1375531"/>
              <a:gd name="connsiteX5" fmla="*/ 0 w 1246984"/>
              <a:gd name="connsiteY5" fmla="*/ 1260419 h 1375531"/>
              <a:gd name="connsiteX6" fmla="*/ 380 w 1246984"/>
              <a:gd name="connsiteY6" fmla="*/ 2215 h 1375531"/>
              <a:gd name="connsiteX0" fmla="*/ 380 w 1190511"/>
              <a:gd name="connsiteY0" fmla="*/ 2215 h 1375531"/>
              <a:gd name="connsiteX1" fmla="*/ 1166217 w 1190511"/>
              <a:gd name="connsiteY1" fmla="*/ 0 h 1375531"/>
              <a:gd name="connsiteX2" fmla="*/ 1163845 w 1190511"/>
              <a:gd name="connsiteY2" fmla="*/ 894920 h 1375531"/>
              <a:gd name="connsiteX3" fmla="*/ 1068759 w 1190511"/>
              <a:gd name="connsiteY3" fmla="*/ 1041119 h 1375531"/>
              <a:gd name="connsiteX4" fmla="*/ 91282 w 1190511"/>
              <a:gd name="connsiteY4" fmla="*/ 1373391 h 1375531"/>
              <a:gd name="connsiteX5" fmla="*/ 0 w 1190511"/>
              <a:gd name="connsiteY5" fmla="*/ 1260419 h 1375531"/>
              <a:gd name="connsiteX6" fmla="*/ 380 w 1190511"/>
              <a:gd name="connsiteY6" fmla="*/ 2215 h 1375531"/>
              <a:gd name="connsiteX0" fmla="*/ 380 w 1183009"/>
              <a:gd name="connsiteY0" fmla="*/ 2215 h 1375531"/>
              <a:gd name="connsiteX1" fmla="*/ 1166217 w 1183009"/>
              <a:gd name="connsiteY1" fmla="*/ 0 h 1375531"/>
              <a:gd name="connsiteX2" fmla="*/ 1163845 w 1183009"/>
              <a:gd name="connsiteY2" fmla="*/ 894920 h 1375531"/>
              <a:gd name="connsiteX3" fmla="*/ 1068759 w 1183009"/>
              <a:gd name="connsiteY3" fmla="*/ 1041119 h 1375531"/>
              <a:gd name="connsiteX4" fmla="*/ 91282 w 1183009"/>
              <a:gd name="connsiteY4" fmla="*/ 1373391 h 1375531"/>
              <a:gd name="connsiteX5" fmla="*/ 0 w 1183009"/>
              <a:gd name="connsiteY5" fmla="*/ 1260419 h 1375531"/>
              <a:gd name="connsiteX6" fmla="*/ 380 w 1183009"/>
              <a:gd name="connsiteY6" fmla="*/ 2215 h 1375531"/>
              <a:gd name="connsiteX0" fmla="*/ 380 w 1166217"/>
              <a:gd name="connsiteY0" fmla="*/ 2215 h 1375531"/>
              <a:gd name="connsiteX1" fmla="*/ 1166217 w 1166217"/>
              <a:gd name="connsiteY1" fmla="*/ 0 h 1375531"/>
              <a:gd name="connsiteX2" fmla="*/ 1163845 w 1166217"/>
              <a:gd name="connsiteY2" fmla="*/ 894920 h 1375531"/>
              <a:gd name="connsiteX3" fmla="*/ 1068759 w 1166217"/>
              <a:gd name="connsiteY3" fmla="*/ 1041119 h 1375531"/>
              <a:gd name="connsiteX4" fmla="*/ 91282 w 1166217"/>
              <a:gd name="connsiteY4" fmla="*/ 1373391 h 1375531"/>
              <a:gd name="connsiteX5" fmla="*/ 0 w 1166217"/>
              <a:gd name="connsiteY5" fmla="*/ 1260419 h 1375531"/>
              <a:gd name="connsiteX6" fmla="*/ 380 w 1166217"/>
              <a:gd name="connsiteY6" fmla="*/ 2215 h 1375531"/>
              <a:gd name="connsiteX0" fmla="*/ 6420 w 1172257"/>
              <a:gd name="connsiteY0" fmla="*/ 2215 h 1399780"/>
              <a:gd name="connsiteX1" fmla="*/ 1172257 w 1172257"/>
              <a:gd name="connsiteY1" fmla="*/ 0 h 1399780"/>
              <a:gd name="connsiteX2" fmla="*/ 1169885 w 1172257"/>
              <a:gd name="connsiteY2" fmla="*/ 894920 h 1399780"/>
              <a:gd name="connsiteX3" fmla="*/ 1074799 w 1172257"/>
              <a:gd name="connsiteY3" fmla="*/ 1041119 h 1399780"/>
              <a:gd name="connsiteX4" fmla="*/ 93519 w 1172257"/>
              <a:gd name="connsiteY4" fmla="*/ 1360100 h 1399780"/>
              <a:gd name="connsiteX5" fmla="*/ 6040 w 1172257"/>
              <a:gd name="connsiteY5" fmla="*/ 1260419 h 1399780"/>
              <a:gd name="connsiteX6" fmla="*/ 6420 w 1172257"/>
              <a:gd name="connsiteY6" fmla="*/ 2215 h 1399780"/>
              <a:gd name="connsiteX0" fmla="*/ 6420 w 1172257"/>
              <a:gd name="connsiteY0" fmla="*/ 2215 h 1400114"/>
              <a:gd name="connsiteX1" fmla="*/ 1172257 w 1172257"/>
              <a:gd name="connsiteY1" fmla="*/ 0 h 1400114"/>
              <a:gd name="connsiteX2" fmla="*/ 1169885 w 1172257"/>
              <a:gd name="connsiteY2" fmla="*/ 894920 h 1400114"/>
              <a:gd name="connsiteX3" fmla="*/ 1074799 w 1172257"/>
              <a:gd name="connsiteY3" fmla="*/ 1041119 h 1400114"/>
              <a:gd name="connsiteX4" fmla="*/ 93519 w 1172257"/>
              <a:gd name="connsiteY4" fmla="*/ 1360100 h 1400114"/>
              <a:gd name="connsiteX5" fmla="*/ 6040 w 1172257"/>
              <a:gd name="connsiteY5" fmla="*/ 1260419 h 1400114"/>
              <a:gd name="connsiteX6" fmla="*/ 6420 w 1172257"/>
              <a:gd name="connsiteY6" fmla="*/ 2215 h 1400114"/>
              <a:gd name="connsiteX0" fmla="*/ 666 w 1166503"/>
              <a:gd name="connsiteY0" fmla="*/ 2215 h 1363444"/>
              <a:gd name="connsiteX1" fmla="*/ 1166503 w 1166503"/>
              <a:gd name="connsiteY1" fmla="*/ 0 h 1363444"/>
              <a:gd name="connsiteX2" fmla="*/ 1164131 w 1166503"/>
              <a:gd name="connsiteY2" fmla="*/ 894920 h 1363444"/>
              <a:gd name="connsiteX3" fmla="*/ 1069045 w 1166503"/>
              <a:gd name="connsiteY3" fmla="*/ 1041119 h 1363444"/>
              <a:gd name="connsiteX4" fmla="*/ 87765 w 1166503"/>
              <a:gd name="connsiteY4" fmla="*/ 1360100 h 1363444"/>
              <a:gd name="connsiteX5" fmla="*/ 286 w 1166503"/>
              <a:gd name="connsiteY5" fmla="*/ 1260419 h 1363444"/>
              <a:gd name="connsiteX6" fmla="*/ 666 w 1166503"/>
              <a:gd name="connsiteY6" fmla="*/ 2215 h 1363444"/>
              <a:gd name="connsiteX0" fmla="*/ 666 w 1168481"/>
              <a:gd name="connsiteY0" fmla="*/ 6645 h 1367874"/>
              <a:gd name="connsiteX1" fmla="*/ 1156995 w 1168481"/>
              <a:gd name="connsiteY1" fmla="*/ 0 h 1367874"/>
              <a:gd name="connsiteX2" fmla="*/ 1164131 w 1168481"/>
              <a:gd name="connsiteY2" fmla="*/ 899350 h 1367874"/>
              <a:gd name="connsiteX3" fmla="*/ 1069045 w 1168481"/>
              <a:gd name="connsiteY3" fmla="*/ 1045549 h 1367874"/>
              <a:gd name="connsiteX4" fmla="*/ 87765 w 1168481"/>
              <a:gd name="connsiteY4" fmla="*/ 1364530 h 1367874"/>
              <a:gd name="connsiteX5" fmla="*/ 286 w 1168481"/>
              <a:gd name="connsiteY5" fmla="*/ 1264849 h 1367874"/>
              <a:gd name="connsiteX6" fmla="*/ 666 w 1168481"/>
              <a:gd name="connsiteY6" fmla="*/ 6645 h 1367874"/>
              <a:gd name="connsiteX0" fmla="*/ 666 w 1169473"/>
              <a:gd name="connsiteY0" fmla="*/ 6645 h 1367874"/>
              <a:gd name="connsiteX1" fmla="*/ 1156995 w 1169473"/>
              <a:gd name="connsiteY1" fmla="*/ 0 h 1367874"/>
              <a:gd name="connsiteX2" fmla="*/ 1164131 w 1169473"/>
              <a:gd name="connsiteY2" fmla="*/ 899350 h 1367874"/>
              <a:gd name="connsiteX3" fmla="*/ 1069045 w 1169473"/>
              <a:gd name="connsiteY3" fmla="*/ 1045549 h 1367874"/>
              <a:gd name="connsiteX4" fmla="*/ 87765 w 1169473"/>
              <a:gd name="connsiteY4" fmla="*/ 1364530 h 1367874"/>
              <a:gd name="connsiteX5" fmla="*/ 286 w 1169473"/>
              <a:gd name="connsiteY5" fmla="*/ 1264849 h 1367874"/>
              <a:gd name="connsiteX6" fmla="*/ 666 w 1169473"/>
              <a:gd name="connsiteY6" fmla="*/ 6645 h 1367874"/>
              <a:gd name="connsiteX0" fmla="*/ 666 w 1162319"/>
              <a:gd name="connsiteY0" fmla="*/ 6645 h 1367874"/>
              <a:gd name="connsiteX1" fmla="*/ 1156995 w 1162319"/>
              <a:gd name="connsiteY1" fmla="*/ 0 h 1367874"/>
              <a:gd name="connsiteX2" fmla="*/ 1154622 w 1162319"/>
              <a:gd name="connsiteY2" fmla="*/ 886059 h 1367874"/>
              <a:gd name="connsiteX3" fmla="*/ 1069045 w 1162319"/>
              <a:gd name="connsiteY3" fmla="*/ 1045549 h 1367874"/>
              <a:gd name="connsiteX4" fmla="*/ 87765 w 1162319"/>
              <a:gd name="connsiteY4" fmla="*/ 1364530 h 1367874"/>
              <a:gd name="connsiteX5" fmla="*/ 286 w 1162319"/>
              <a:gd name="connsiteY5" fmla="*/ 1264849 h 1367874"/>
              <a:gd name="connsiteX6" fmla="*/ 666 w 1162319"/>
              <a:gd name="connsiteY6" fmla="*/ 6645 h 1367874"/>
              <a:gd name="connsiteX0" fmla="*/ 666 w 1157419"/>
              <a:gd name="connsiteY0" fmla="*/ 6645 h 1367874"/>
              <a:gd name="connsiteX1" fmla="*/ 1156995 w 1157419"/>
              <a:gd name="connsiteY1" fmla="*/ 0 h 1367874"/>
              <a:gd name="connsiteX2" fmla="*/ 1154622 w 1157419"/>
              <a:gd name="connsiteY2" fmla="*/ 886059 h 1367874"/>
              <a:gd name="connsiteX3" fmla="*/ 1069045 w 1157419"/>
              <a:gd name="connsiteY3" fmla="*/ 1045549 h 1367874"/>
              <a:gd name="connsiteX4" fmla="*/ 87765 w 1157419"/>
              <a:gd name="connsiteY4" fmla="*/ 1364530 h 1367874"/>
              <a:gd name="connsiteX5" fmla="*/ 286 w 1157419"/>
              <a:gd name="connsiteY5" fmla="*/ 1264849 h 1367874"/>
              <a:gd name="connsiteX6" fmla="*/ 666 w 1157419"/>
              <a:gd name="connsiteY6" fmla="*/ 6645 h 1367874"/>
              <a:gd name="connsiteX0" fmla="*/ 666 w 1157396"/>
              <a:gd name="connsiteY0" fmla="*/ 6645 h 1367874"/>
              <a:gd name="connsiteX1" fmla="*/ 1156995 w 1157396"/>
              <a:gd name="connsiteY1" fmla="*/ 0 h 1367874"/>
              <a:gd name="connsiteX2" fmla="*/ 1154622 w 1157396"/>
              <a:gd name="connsiteY2" fmla="*/ 886059 h 1367874"/>
              <a:gd name="connsiteX3" fmla="*/ 1069045 w 1157396"/>
              <a:gd name="connsiteY3" fmla="*/ 1045549 h 1367874"/>
              <a:gd name="connsiteX4" fmla="*/ 87765 w 1157396"/>
              <a:gd name="connsiteY4" fmla="*/ 1364530 h 1367874"/>
              <a:gd name="connsiteX5" fmla="*/ 286 w 1157396"/>
              <a:gd name="connsiteY5" fmla="*/ 1264849 h 1367874"/>
              <a:gd name="connsiteX6" fmla="*/ 666 w 1157396"/>
              <a:gd name="connsiteY6" fmla="*/ 6645 h 1367874"/>
              <a:gd name="connsiteX0" fmla="*/ 666 w 1154651"/>
              <a:gd name="connsiteY0" fmla="*/ 6645 h 1367874"/>
              <a:gd name="connsiteX1" fmla="*/ 726871 w 1154651"/>
              <a:gd name="connsiteY1" fmla="*/ 0 h 1367874"/>
              <a:gd name="connsiteX2" fmla="*/ 1154622 w 1154651"/>
              <a:gd name="connsiteY2" fmla="*/ 886059 h 1367874"/>
              <a:gd name="connsiteX3" fmla="*/ 1069045 w 1154651"/>
              <a:gd name="connsiteY3" fmla="*/ 1045549 h 1367874"/>
              <a:gd name="connsiteX4" fmla="*/ 87765 w 1154651"/>
              <a:gd name="connsiteY4" fmla="*/ 1364530 h 1367874"/>
              <a:gd name="connsiteX5" fmla="*/ 286 w 1154651"/>
              <a:gd name="connsiteY5" fmla="*/ 1264849 h 1367874"/>
              <a:gd name="connsiteX6" fmla="*/ 666 w 1154651"/>
              <a:gd name="connsiteY6" fmla="*/ 6645 h 1367874"/>
              <a:gd name="connsiteX0" fmla="*/ 666 w 1087791"/>
              <a:gd name="connsiteY0" fmla="*/ 6645 h 1367874"/>
              <a:gd name="connsiteX1" fmla="*/ 726871 w 1087791"/>
              <a:gd name="connsiteY1" fmla="*/ 0 h 1367874"/>
              <a:gd name="connsiteX2" fmla="*/ 757197 w 1087791"/>
              <a:gd name="connsiteY2" fmla="*/ 906568 h 1367874"/>
              <a:gd name="connsiteX3" fmla="*/ 1069045 w 1087791"/>
              <a:gd name="connsiteY3" fmla="*/ 1045549 h 1367874"/>
              <a:gd name="connsiteX4" fmla="*/ 87765 w 1087791"/>
              <a:gd name="connsiteY4" fmla="*/ 1364530 h 1367874"/>
              <a:gd name="connsiteX5" fmla="*/ 286 w 1087791"/>
              <a:gd name="connsiteY5" fmla="*/ 1264849 h 1367874"/>
              <a:gd name="connsiteX6" fmla="*/ 666 w 1087791"/>
              <a:gd name="connsiteY6" fmla="*/ 6645 h 1367874"/>
              <a:gd name="connsiteX0" fmla="*/ 666 w 1085800"/>
              <a:gd name="connsiteY0" fmla="*/ 6645 h 1367874"/>
              <a:gd name="connsiteX1" fmla="*/ 726871 w 1085800"/>
              <a:gd name="connsiteY1" fmla="*/ 0 h 1367874"/>
              <a:gd name="connsiteX2" fmla="*/ 732043 w 1085800"/>
              <a:gd name="connsiteY2" fmla="*/ 903638 h 1367874"/>
              <a:gd name="connsiteX3" fmla="*/ 1069045 w 1085800"/>
              <a:gd name="connsiteY3" fmla="*/ 1045549 h 1367874"/>
              <a:gd name="connsiteX4" fmla="*/ 87765 w 1085800"/>
              <a:gd name="connsiteY4" fmla="*/ 1364530 h 1367874"/>
              <a:gd name="connsiteX5" fmla="*/ 286 w 1085800"/>
              <a:gd name="connsiteY5" fmla="*/ 1264849 h 1367874"/>
              <a:gd name="connsiteX6" fmla="*/ 666 w 1085800"/>
              <a:gd name="connsiteY6" fmla="*/ 6645 h 1367874"/>
              <a:gd name="connsiteX0" fmla="*/ 666 w 733624"/>
              <a:gd name="connsiteY0" fmla="*/ 6645 h 1367874"/>
              <a:gd name="connsiteX1" fmla="*/ 726871 w 733624"/>
              <a:gd name="connsiteY1" fmla="*/ 0 h 1367874"/>
              <a:gd name="connsiteX2" fmla="*/ 732043 w 733624"/>
              <a:gd name="connsiteY2" fmla="*/ 903638 h 1367874"/>
              <a:gd name="connsiteX3" fmla="*/ 643952 w 733624"/>
              <a:gd name="connsiteY3" fmla="*/ 1192041 h 1367874"/>
              <a:gd name="connsiteX4" fmla="*/ 87765 w 733624"/>
              <a:gd name="connsiteY4" fmla="*/ 1364530 h 1367874"/>
              <a:gd name="connsiteX5" fmla="*/ 286 w 733624"/>
              <a:gd name="connsiteY5" fmla="*/ 1264849 h 1367874"/>
              <a:gd name="connsiteX6" fmla="*/ 666 w 733624"/>
              <a:gd name="connsiteY6" fmla="*/ 6645 h 1367874"/>
              <a:gd name="connsiteX0" fmla="*/ 666 w 733624"/>
              <a:gd name="connsiteY0" fmla="*/ 6645 h 1367874"/>
              <a:gd name="connsiteX1" fmla="*/ 726871 w 733624"/>
              <a:gd name="connsiteY1" fmla="*/ 0 h 1367874"/>
              <a:gd name="connsiteX2" fmla="*/ 732043 w 733624"/>
              <a:gd name="connsiteY2" fmla="*/ 976884 h 1367874"/>
              <a:gd name="connsiteX3" fmla="*/ 643952 w 733624"/>
              <a:gd name="connsiteY3" fmla="*/ 1192041 h 1367874"/>
              <a:gd name="connsiteX4" fmla="*/ 87765 w 733624"/>
              <a:gd name="connsiteY4" fmla="*/ 1364530 h 1367874"/>
              <a:gd name="connsiteX5" fmla="*/ 286 w 733624"/>
              <a:gd name="connsiteY5" fmla="*/ 1264849 h 1367874"/>
              <a:gd name="connsiteX6" fmla="*/ 666 w 733624"/>
              <a:gd name="connsiteY6" fmla="*/ 6645 h 1367874"/>
              <a:gd name="connsiteX0" fmla="*/ 666 w 732674"/>
              <a:gd name="connsiteY0" fmla="*/ 6645 h 1367874"/>
              <a:gd name="connsiteX1" fmla="*/ 726871 w 732674"/>
              <a:gd name="connsiteY1" fmla="*/ 0 h 1367874"/>
              <a:gd name="connsiteX2" fmla="*/ 732043 w 732674"/>
              <a:gd name="connsiteY2" fmla="*/ 976884 h 1367874"/>
              <a:gd name="connsiteX3" fmla="*/ 643952 w 732674"/>
              <a:gd name="connsiteY3" fmla="*/ 1192041 h 1367874"/>
              <a:gd name="connsiteX4" fmla="*/ 87765 w 732674"/>
              <a:gd name="connsiteY4" fmla="*/ 1364530 h 1367874"/>
              <a:gd name="connsiteX5" fmla="*/ 286 w 732674"/>
              <a:gd name="connsiteY5" fmla="*/ 1264849 h 1367874"/>
              <a:gd name="connsiteX6" fmla="*/ 666 w 732674"/>
              <a:gd name="connsiteY6" fmla="*/ 6645 h 1367874"/>
              <a:gd name="connsiteX0" fmla="*/ 666 w 732674"/>
              <a:gd name="connsiteY0" fmla="*/ 0 h 1361229"/>
              <a:gd name="connsiteX1" fmla="*/ 731902 w 732674"/>
              <a:gd name="connsiteY1" fmla="*/ 8004 h 1361229"/>
              <a:gd name="connsiteX2" fmla="*/ 732043 w 732674"/>
              <a:gd name="connsiteY2" fmla="*/ 970239 h 1361229"/>
              <a:gd name="connsiteX3" fmla="*/ 643952 w 732674"/>
              <a:gd name="connsiteY3" fmla="*/ 1185396 h 1361229"/>
              <a:gd name="connsiteX4" fmla="*/ 87765 w 732674"/>
              <a:gd name="connsiteY4" fmla="*/ 1357885 h 1361229"/>
              <a:gd name="connsiteX5" fmla="*/ 286 w 732674"/>
              <a:gd name="connsiteY5" fmla="*/ 1258204 h 1361229"/>
              <a:gd name="connsiteX6" fmla="*/ 666 w 732674"/>
              <a:gd name="connsiteY6" fmla="*/ 0 h 1361229"/>
              <a:gd name="connsiteX0" fmla="*/ 666 w 732674"/>
              <a:gd name="connsiteY0" fmla="*/ 3715 h 1364944"/>
              <a:gd name="connsiteX1" fmla="*/ 729386 w 732674"/>
              <a:gd name="connsiteY1" fmla="*/ 0 h 1364944"/>
              <a:gd name="connsiteX2" fmla="*/ 732043 w 732674"/>
              <a:gd name="connsiteY2" fmla="*/ 973954 h 1364944"/>
              <a:gd name="connsiteX3" fmla="*/ 643952 w 732674"/>
              <a:gd name="connsiteY3" fmla="*/ 1189111 h 1364944"/>
              <a:gd name="connsiteX4" fmla="*/ 87765 w 732674"/>
              <a:gd name="connsiteY4" fmla="*/ 1361600 h 1364944"/>
              <a:gd name="connsiteX5" fmla="*/ 286 w 732674"/>
              <a:gd name="connsiteY5" fmla="*/ 1261919 h 1364944"/>
              <a:gd name="connsiteX6" fmla="*/ 666 w 732674"/>
              <a:gd name="connsiteY6" fmla="*/ 3715 h 1364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2674" h="1364944">
                <a:moveTo>
                  <a:pt x="666" y="3715"/>
                </a:moveTo>
                <a:lnTo>
                  <a:pt x="729386" y="0"/>
                </a:lnTo>
                <a:cubicBezTo>
                  <a:pt x="731225" y="268401"/>
                  <a:pt x="731128" y="795267"/>
                  <a:pt x="732043" y="973954"/>
                </a:cubicBezTo>
                <a:cubicBezTo>
                  <a:pt x="732587" y="1080157"/>
                  <a:pt x="743786" y="1153802"/>
                  <a:pt x="643952" y="1189111"/>
                </a:cubicBezTo>
                <a:cubicBezTo>
                  <a:pt x="525805" y="1230897"/>
                  <a:pt x="403734" y="1272869"/>
                  <a:pt x="87765" y="1361600"/>
                </a:cubicBezTo>
                <a:cubicBezTo>
                  <a:pt x="41105" y="1374703"/>
                  <a:pt x="1490" y="1350894"/>
                  <a:pt x="286" y="1261919"/>
                </a:cubicBezTo>
                <a:cubicBezTo>
                  <a:pt x="-918" y="1172944"/>
                  <a:pt x="2173" y="275809"/>
                  <a:pt x="666" y="371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lIns="251953" tIns="233957" rIns="215960" bIns="93583">
            <a:noAutofit/>
          </a:bodyPr>
          <a:lstStyle>
            <a:lvl1pPr marL="0" indent="0">
              <a:spcBef>
                <a:spcPts val="1800"/>
              </a:spcBef>
              <a:buFontTx/>
              <a:buNone/>
              <a:defRPr b="0" i="0">
                <a:solidFill>
                  <a:schemeClr val="bg1"/>
                </a:solidFill>
                <a:latin typeface="Univers 45 Light"/>
                <a:cs typeface="Univers 45 Light"/>
              </a:defRPr>
            </a:lvl1pPr>
            <a:lvl2pPr marL="457116" indent="0">
              <a:buFontTx/>
              <a:buNone/>
              <a:defRPr/>
            </a:lvl2pPr>
            <a:lvl3pPr marL="914231" indent="0">
              <a:buFontTx/>
              <a:buNone/>
              <a:defRPr/>
            </a:lvl3pPr>
            <a:lvl4pPr marL="1263417" indent="0">
              <a:buFontTx/>
              <a:buNone/>
              <a:defRPr/>
            </a:lvl4pPr>
            <a:lvl5pPr marL="1599906" indent="0">
              <a:buFontTx/>
              <a:buNone/>
              <a:defRPr/>
            </a:lvl5pPr>
          </a:lstStyle>
          <a:p>
            <a:pPr lvl="0"/>
            <a:r>
              <a:rPr lang="es-ES_tradnl" dirty="0"/>
              <a:t>Escriba el texto</a:t>
            </a:r>
            <a:endParaRPr lang="es-ES" dirty="0"/>
          </a:p>
        </p:txBody>
      </p:sp>
      <p:sp>
        <p:nvSpPr>
          <p:cNvPr id="14" name="Marcador de texto 4"/>
          <p:cNvSpPr>
            <a:spLocks noGrp="1"/>
          </p:cNvSpPr>
          <p:nvPr>
            <p:ph type="body" sz="quarter" idx="24" hasCustomPrompt="1"/>
          </p:nvPr>
        </p:nvSpPr>
        <p:spPr>
          <a:xfrm>
            <a:off x="3831100" y="2984919"/>
            <a:ext cx="2176043" cy="3480374"/>
          </a:xfrm>
          <a:custGeom>
            <a:avLst/>
            <a:gdLst>
              <a:gd name="connsiteX0" fmla="*/ 0 w 1152525"/>
              <a:gd name="connsiteY0" fmla="*/ 0 h 1295400"/>
              <a:gd name="connsiteX1" fmla="*/ 1152525 w 1152525"/>
              <a:gd name="connsiteY1" fmla="*/ 0 h 1295400"/>
              <a:gd name="connsiteX2" fmla="*/ 1152525 w 1152525"/>
              <a:gd name="connsiteY2" fmla="*/ 1295400 h 1295400"/>
              <a:gd name="connsiteX3" fmla="*/ 0 w 1152525"/>
              <a:gd name="connsiteY3" fmla="*/ 1295400 h 1295400"/>
              <a:gd name="connsiteX4" fmla="*/ 0 w 1152525"/>
              <a:gd name="connsiteY4" fmla="*/ 0 h 1295400"/>
              <a:gd name="connsiteX0" fmla="*/ 0 w 1165225"/>
              <a:gd name="connsiteY0" fmla="*/ 0 h 1295400"/>
              <a:gd name="connsiteX1" fmla="*/ 1152525 w 1165225"/>
              <a:gd name="connsiteY1" fmla="*/ 0 h 1295400"/>
              <a:gd name="connsiteX2" fmla="*/ 1165225 w 1165225"/>
              <a:gd name="connsiteY2" fmla="*/ 838200 h 1295400"/>
              <a:gd name="connsiteX3" fmla="*/ 0 w 1165225"/>
              <a:gd name="connsiteY3" fmla="*/ 1295400 h 1295400"/>
              <a:gd name="connsiteX4" fmla="*/ 0 w 1165225"/>
              <a:gd name="connsiteY4" fmla="*/ 0 h 1295400"/>
              <a:gd name="connsiteX0" fmla="*/ 9509 w 1174734"/>
              <a:gd name="connsiteY0" fmla="*/ 0 h 1421663"/>
              <a:gd name="connsiteX1" fmla="*/ 1162034 w 1174734"/>
              <a:gd name="connsiteY1" fmla="*/ 0 h 1421663"/>
              <a:gd name="connsiteX2" fmla="*/ 1174734 w 1174734"/>
              <a:gd name="connsiteY2" fmla="*/ 838200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4734"/>
              <a:gd name="connsiteY0" fmla="*/ 0 h 1421663"/>
              <a:gd name="connsiteX1" fmla="*/ 1162034 w 1174734"/>
              <a:gd name="connsiteY1" fmla="*/ 0 h 1421663"/>
              <a:gd name="connsiteX2" fmla="*/ 1174734 w 1174734"/>
              <a:gd name="connsiteY2" fmla="*/ 1010981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4734"/>
              <a:gd name="connsiteY0" fmla="*/ 0 h 1421663"/>
              <a:gd name="connsiteX1" fmla="*/ 1169641 w 1174734"/>
              <a:gd name="connsiteY1" fmla="*/ 0 h 1421663"/>
              <a:gd name="connsiteX2" fmla="*/ 1174734 w 1174734"/>
              <a:gd name="connsiteY2" fmla="*/ 1010981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5774"/>
              <a:gd name="connsiteY0" fmla="*/ 2215 h 1423878"/>
              <a:gd name="connsiteX1" fmla="*/ 1175346 w 1175774"/>
              <a:gd name="connsiteY1" fmla="*/ 0 h 1423878"/>
              <a:gd name="connsiteX2" fmla="*/ 1174734 w 1175774"/>
              <a:gd name="connsiteY2" fmla="*/ 1013196 h 1423878"/>
              <a:gd name="connsiteX3" fmla="*/ 0 w 1175774"/>
              <a:gd name="connsiteY3" fmla="*/ 1423878 h 1423878"/>
              <a:gd name="connsiteX4" fmla="*/ 9509 w 1175774"/>
              <a:gd name="connsiteY4" fmla="*/ 2215 h 1423878"/>
              <a:gd name="connsiteX0" fmla="*/ 5706 w 1171971"/>
              <a:gd name="connsiteY0" fmla="*/ 2215 h 1421663"/>
              <a:gd name="connsiteX1" fmla="*/ 1171543 w 1171971"/>
              <a:gd name="connsiteY1" fmla="*/ 0 h 1421663"/>
              <a:gd name="connsiteX2" fmla="*/ 1170931 w 1171971"/>
              <a:gd name="connsiteY2" fmla="*/ 1013196 h 1421663"/>
              <a:gd name="connsiteX3" fmla="*/ 0 w 1171971"/>
              <a:gd name="connsiteY3" fmla="*/ 1421663 h 1421663"/>
              <a:gd name="connsiteX4" fmla="*/ 5706 w 1171971"/>
              <a:gd name="connsiteY4" fmla="*/ 2215 h 1421663"/>
              <a:gd name="connsiteX0" fmla="*/ 916 w 1167181"/>
              <a:gd name="connsiteY0" fmla="*/ 2215 h 1417233"/>
              <a:gd name="connsiteX1" fmla="*/ 1166753 w 1167181"/>
              <a:gd name="connsiteY1" fmla="*/ 0 h 1417233"/>
              <a:gd name="connsiteX2" fmla="*/ 1166141 w 1167181"/>
              <a:gd name="connsiteY2" fmla="*/ 1013196 h 1417233"/>
              <a:gd name="connsiteX3" fmla="*/ 915 w 1167181"/>
              <a:gd name="connsiteY3" fmla="*/ 1417233 h 1417233"/>
              <a:gd name="connsiteX4" fmla="*/ 916 w 1167181"/>
              <a:gd name="connsiteY4" fmla="*/ 2215 h 1417233"/>
              <a:gd name="connsiteX0" fmla="*/ 916 w 1167181"/>
              <a:gd name="connsiteY0" fmla="*/ 2215 h 1403942"/>
              <a:gd name="connsiteX1" fmla="*/ 1166753 w 1167181"/>
              <a:gd name="connsiteY1" fmla="*/ 0 h 1403942"/>
              <a:gd name="connsiteX2" fmla="*/ 1166141 w 1167181"/>
              <a:gd name="connsiteY2" fmla="*/ 1013196 h 1403942"/>
              <a:gd name="connsiteX3" fmla="*/ 915 w 1167181"/>
              <a:gd name="connsiteY3" fmla="*/ 1403942 h 1403942"/>
              <a:gd name="connsiteX4" fmla="*/ 916 w 1167181"/>
              <a:gd name="connsiteY4" fmla="*/ 2215 h 1403942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86483 w 1252749"/>
              <a:gd name="connsiteY3" fmla="*/ 1403942 h 1438510"/>
              <a:gd name="connsiteX4" fmla="*/ 86104 w 1252749"/>
              <a:gd name="connsiteY4" fmla="*/ 1260419 h 1438510"/>
              <a:gd name="connsiteX5" fmla="*/ 86484 w 1252749"/>
              <a:gd name="connsiteY5" fmla="*/ 2215 h 1438510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177386 w 1252749"/>
              <a:gd name="connsiteY3" fmla="*/ 1373391 h 1438510"/>
              <a:gd name="connsiteX4" fmla="*/ 86483 w 1252749"/>
              <a:gd name="connsiteY4" fmla="*/ 1403942 h 1438510"/>
              <a:gd name="connsiteX5" fmla="*/ 86104 w 1252749"/>
              <a:gd name="connsiteY5" fmla="*/ 1260419 h 1438510"/>
              <a:gd name="connsiteX6" fmla="*/ 86484 w 1252749"/>
              <a:gd name="connsiteY6" fmla="*/ 2215 h 1438510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1154863 w 1252749"/>
              <a:gd name="connsiteY3" fmla="*/ 1041119 h 1438510"/>
              <a:gd name="connsiteX4" fmla="*/ 177386 w 1252749"/>
              <a:gd name="connsiteY4" fmla="*/ 1373391 h 1438510"/>
              <a:gd name="connsiteX5" fmla="*/ 86483 w 1252749"/>
              <a:gd name="connsiteY5" fmla="*/ 1403942 h 1438510"/>
              <a:gd name="connsiteX6" fmla="*/ 86104 w 1252749"/>
              <a:gd name="connsiteY6" fmla="*/ 1260419 h 1438510"/>
              <a:gd name="connsiteX7" fmla="*/ 86484 w 1252749"/>
              <a:gd name="connsiteY7" fmla="*/ 2215 h 1438510"/>
              <a:gd name="connsiteX0" fmla="*/ 86484 w 1337915"/>
              <a:gd name="connsiteY0" fmla="*/ 2215 h 1438510"/>
              <a:gd name="connsiteX1" fmla="*/ 1252321 w 1337915"/>
              <a:gd name="connsiteY1" fmla="*/ 0 h 1438510"/>
              <a:gd name="connsiteX2" fmla="*/ 1249949 w 1337915"/>
              <a:gd name="connsiteY2" fmla="*/ 894920 h 1438510"/>
              <a:gd name="connsiteX3" fmla="*/ 1251709 w 1337915"/>
              <a:gd name="connsiteY3" fmla="*/ 1013196 h 1438510"/>
              <a:gd name="connsiteX4" fmla="*/ 1154863 w 1337915"/>
              <a:gd name="connsiteY4" fmla="*/ 1041119 h 1438510"/>
              <a:gd name="connsiteX5" fmla="*/ 177386 w 1337915"/>
              <a:gd name="connsiteY5" fmla="*/ 1373391 h 1438510"/>
              <a:gd name="connsiteX6" fmla="*/ 86483 w 1337915"/>
              <a:gd name="connsiteY6" fmla="*/ 1403942 h 1438510"/>
              <a:gd name="connsiteX7" fmla="*/ 86104 w 1337915"/>
              <a:gd name="connsiteY7" fmla="*/ 1260419 h 1438510"/>
              <a:gd name="connsiteX8" fmla="*/ 86484 w 1337915"/>
              <a:gd name="connsiteY8" fmla="*/ 2215 h 1438510"/>
              <a:gd name="connsiteX0" fmla="*/ 86484 w 1341572"/>
              <a:gd name="connsiteY0" fmla="*/ 2215 h 1438510"/>
              <a:gd name="connsiteX1" fmla="*/ 1252321 w 1341572"/>
              <a:gd name="connsiteY1" fmla="*/ 0 h 1438510"/>
              <a:gd name="connsiteX2" fmla="*/ 1249949 w 1341572"/>
              <a:gd name="connsiteY2" fmla="*/ 894920 h 1438510"/>
              <a:gd name="connsiteX3" fmla="*/ 1154863 w 1341572"/>
              <a:gd name="connsiteY3" fmla="*/ 1041119 h 1438510"/>
              <a:gd name="connsiteX4" fmla="*/ 177386 w 1341572"/>
              <a:gd name="connsiteY4" fmla="*/ 1373391 h 1438510"/>
              <a:gd name="connsiteX5" fmla="*/ 86483 w 1341572"/>
              <a:gd name="connsiteY5" fmla="*/ 1403942 h 1438510"/>
              <a:gd name="connsiteX6" fmla="*/ 86104 w 1341572"/>
              <a:gd name="connsiteY6" fmla="*/ 1260419 h 1438510"/>
              <a:gd name="connsiteX7" fmla="*/ 86484 w 1341572"/>
              <a:gd name="connsiteY7" fmla="*/ 2215 h 1438510"/>
              <a:gd name="connsiteX0" fmla="*/ 86484 w 1341572"/>
              <a:gd name="connsiteY0" fmla="*/ 2215 h 1373391"/>
              <a:gd name="connsiteX1" fmla="*/ 1252321 w 1341572"/>
              <a:gd name="connsiteY1" fmla="*/ 0 h 1373391"/>
              <a:gd name="connsiteX2" fmla="*/ 1249949 w 1341572"/>
              <a:gd name="connsiteY2" fmla="*/ 894920 h 1373391"/>
              <a:gd name="connsiteX3" fmla="*/ 1154863 w 1341572"/>
              <a:gd name="connsiteY3" fmla="*/ 1041119 h 1373391"/>
              <a:gd name="connsiteX4" fmla="*/ 177386 w 1341572"/>
              <a:gd name="connsiteY4" fmla="*/ 1373391 h 1373391"/>
              <a:gd name="connsiteX5" fmla="*/ 86104 w 1341572"/>
              <a:gd name="connsiteY5" fmla="*/ 1260419 h 1373391"/>
              <a:gd name="connsiteX6" fmla="*/ 86484 w 1341572"/>
              <a:gd name="connsiteY6" fmla="*/ 2215 h 1373391"/>
              <a:gd name="connsiteX0" fmla="*/ 86484 w 1341572"/>
              <a:gd name="connsiteY0" fmla="*/ 2215 h 1380291"/>
              <a:gd name="connsiteX1" fmla="*/ 1252321 w 1341572"/>
              <a:gd name="connsiteY1" fmla="*/ 0 h 1380291"/>
              <a:gd name="connsiteX2" fmla="*/ 1249949 w 1341572"/>
              <a:gd name="connsiteY2" fmla="*/ 894920 h 1380291"/>
              <a:gd name="connsiteX3" fmla="*/ 1154863 w 1341572"/>
              <a:gd name="connsiteY3" fmla="*/ 1041119 h 1380291"/>
              <a:gd name="connsiteX4" fmla="*/ 177386 w 1341572"/>
              <a:gd name="connsiteY4" fmla="*/ 1373391 h 1380291"/>
              <a:gd name="connsiteX5" fmla="*/ 86104 w 1341572"/>
              <a:gd name="connsiteY5" fmla="*/ 1260419 h 1380291"/>
              <a:gd name="connsiteX6" fmla="*/ 86484 w 1341572"/>
              <a:gd name="connsiteY6" fmla="*/ 2215 h 1380291"/>
              <a:gd name="connsiteX0" fmla="*/ 86484 w 1341572"/>
              <a:gd name="connsiteY0" fmla="*/ 2215 h 1425606"/>
              <a:gd name="connsiteX1" fmla="*/ 1252321 w 1341572"/>
              <a:gd name="connsiteY1" fmla="*/ 0 h 1425606"/>
              <a:gd name="connsiteX2" fmla="*/ 1249949 w 1341572"/>
              <a:gd name="connsiteY2" fmla="*/ 894920 h 1425606"/>
              <a:gd name="connsiteX3" fmla="*/ 1154863 w 1341572"/>
              <a:gd name="connsiteY3" fmla="*/ 1041119 h 1425606"/>
              <a:gd name="connsiteX4" fmla="*/ 177386 w 1341572"/>
              <a:gd name="connsiteY4" fmla="*/ 1373391 h 1425606"/>
              <a:gd name="connsiteX5" fmla="*/ 86104 w 1341572"/>
              <a:gd name="connsiteY5" fmla="*/ 1260419 h 1425606"/>
              <a:gd name="connsiteX6" fmla="*/ 86484 w 1341572"/>
              <a:gd name="connsiteY6" fmla="*/ 2215 h 1425606"/>
              <a:gd name="connsiteX0" fmla="*/ 86484 w 1341572"/>
              <a:gd name="connsiteY0" fmla="*/ 2215 h 1410556"/>
              <a:gd name="connsiteX1" fmla="*/ 1252321 w 1341572"/>
              <a:gd name="connsiteY1" fmla="*/ 0 h 1410556"/>
              <a:gd name="connsiteX2" fmla="*/ 1249949 w 1341572"/>
              <a:gd name="connsiteY2" fmla="*/ 894920 h 1410556"/>
              <a:gd name="connsiteX3" fmla="*/ 1154863 w 1341572"/>
              <a:gd name="connsiteY3" fmla="*/ 1041119 h 1410556"/>
              <a:gd name="connsiteX4" fmla="*/ 177386 w 1341572"/>
              <a:gd name="connsiteY4" fmla="*/ 1373391 h 1410556"/>
              <a:gd name="connsiteX5" fmla="*/ 86104 w 1341572"/>
              <a:gd name="connsiteY5" fmla="*/ 1260419 h 1410556"/>
              <a:gd name="connsiteX6" fmla="*/ 86484 w 1341572"/>
              <a:gd name="connsiteY6" fmla="*/ 2215 h 1410556"/>
              <a:gd name="connsiteX0" fmla="*/ 86484 w 1341572"/>
              <a:gd name="connsiteY0" fmla="*/ 2215 h 1416904"/>
              <a:gd name="connsiteX1" fmla="*/ 1252321 w 1341572"/>
              <a:gd name="connsiteY1" fmla="*/ 0 h 1416904"/>
              <a:gd name="connsiteX2" fmla="*/ 1249949 w 1341572"/>
              <a:gd name="connsiteY2" fmla="*/ 894920 h 1416904"/>
              <a:gd name="connsiteX3" fmla="*/ 1154863 w 1341572"/>
              <a:gd name="connsiteY3" fmla="*/ 1041119 h 1416904"/>
              <a:gd name="connsiteX4" fmla="*/ 177386 w 1341572"/>
              <a:gd name="connsiteY4" fmla="*/ 1373391 h 1416904"/>
              <a:gd name="connsiteX5" fmla="*/ 86104 w 1341572"/>
              <a:gd name="connsiteY5" fmla="*/ 1260419 h 1416904"/>
              <a:gd name="connsiteX6" fmla="*/ 86484 w 1341572"/>
              <a:gd name="connsiteY6" fmla="*/ 2215 h 1416904"/>
              <a:gd name="connsiteX0" fmla="*/ 86484 w 1341572"/>
              <a:gd name="connsiteY0" fmla="*/ 2215 h 1383845"/>
              <a:gd name="connsiteX1" fmla="*/ 1252321 w 1341572"/>
              <a:gd name="connsiteY1" fmla="*/ 0 h 1383845"/>
              <a:gd name="connsiteX2" fmla="*/ 1249949 w 1341572"/>
              <a:gd name="connsiteY2" fmla="*/ 894920 h 1383845"/>
              <a:gd name="connsiteX3" fmla="*/ 1154863 w 1341572"/>
              <a:gd name="connsiteY3" fmla="*/ 1041119 h 1383845"/>
              <a:gd name="connsiteX4" fmla="*/ 177386 w 1341572"/>
              <a:gd name="connsiteY4" fmla="*/ 1373391 h 1383845"/>
              <a:gd name="connsiteX5" fmla="*/ 86104 w 1341572"/>
              <a:gd name="connsiteY5" fmla="*/ 1260419 h 1383845"/>
              <a:gd name="connsiteX6" fmla="*/ 86484 w 1341572"/>
              <a:gd name="connsiteY6" fmla="*/ 2215 h 1383845"/>
              <a:gd name="connsiteX0" fmla="*/ 86484 w 1341572"/>
              <a:gd name="connsiteY0" fmla="*/ 2215 h 1375531"/>
              <a:gd name="connsiteX1" fmla="*/ 1252321 w 1341572"/>
              <a:gd name="connsiteY1" fmla="*/ 0 h 1375531"/>
              <a:gd name="connsiteX2" fmla="*/ 1249949 w 1341572"/>
              <a:gd name="connsiteY2" fmla="*/ 894920 h 1375531"/>
              <a:gd name="connsiteX3" fmla="*/ 1154863 w 1341572"/>
              <a:gd name="connsiteY3" fmla="*/ 1041119 h 1375531"/>
              <a:gd name="connsiteX4" fmla="*/ 177386 w 1341572"/>
              <a:gd name="connsiteY4" fmla="*/ 1373391 h 1375531"/>
              <a:gd name="connsiteX5" fmla="*/ 86104 w 1341572"/>
              <a:gd name="connsiteY5" fmla="*/ 1260419 h 1375531"/>
              <a:gd name="connsiteX6" fmla="*/ 86484 w 1341572"/>
              <a:gd name="connsiteY6" fmla="*/ 2215 h 1375531"/>
              <a:gd name="connsiteX0" fmla="*/ 86484 w 1341572"/>
              <a:gd name="connsiteY0" fmla="*/ 2215 h 1375531"/>
              <a:gd name="connsiteX1" fmla="*/ 1252321 w 1341572"/>
              <a:gd name="connsiteY1" fmla="*/ 0 h 1375531"/>
              <a:gd name="connsiteX2" fmla="*/ 1249949 w 1341572"/>
              <a:gd name="connsiteY2" fmla="*/ 894920 h 1375531"/>
              <a:gd name="connsiteX3" fmla="*/ 1154863 w 1341572"/>
              <a:gd name="connsiteY3" fmla="*/ 1041119 h 1375531"/>
              <a:gd name="connsiteX4" fmla="*/ 177386 w 1341572"/>
              <a:gd name="connsiteY4" fmla="*/ 1373391 h 1375531"/>
              <a:gd name="connsiteX5" fmla="*/ 86104 w 1341572"/>
              <a:gd name="connsiteY5" fmla="*/ 1260419 h 1375531"/>
              <a:gd name="connsiteX6" fmla="*/ 86484 w 1341572"/>
              <a:gd name="connsiteY6" fmla="*/ 2215 h 1375531"/>
              <a:gd name="connsiteX0" fmla="*/ 380 w 1255468"/>
              <a:gd name="connsiteY0" fmla="*/ 2215 h 1375531"/>
              <a:gd name="connsiteX1" fmla="*/ 1166217 w 1255468"/>
              <a:gd name="connsiteY1" fmla="*/ 0 h 1375531"/>
              <a:gd name="connsiteX2" fmla="*/ 1163845 w 1255468"/>
              <a:gd name="connsiteY2" fmla="*/ 894920 h 1375531"/>
              <a:gd name="connsiteX3" fmla="*/ 1068759 w 1255468"/>
              <a:gd name="connsiteY3" fmla="*/ 1041119 h 1375531"/>
              <a:gd name="connsiteX4" fmla="*/ 91282 w 1255468"/>
              <a:gd name="connsiteY4" fmla="*/ 1373391 h 1375531"/>
              <a:gd name="connsiteX5" fmla="*/ 0 w 1255468"/>
              <a:gd name="connsiteY5" fmla="*/ 1260419 h 1375531"/>
              <a:gd name="connsiteX6" fmla="*/ 380 w 1255468"/>
              <a:gd name="connsiteY6" fmla="*/ 2215 h 1375531"/>
              <a:gd name="connsiteX0" fmla="*/ 380 w 1177259"/>
              <a:gd name="connsiteY0" fmla="*/ 2215 h 1375531"/>
              <a:gd name="connsiteX1" fmla="*/ 1166217 w 1177259"/>
              <a:gd name="connsiteY1" fmla="*/ 0 h 1375531"/>
              <a:gd name="connsiteX2" fmla="*/ 1163845 w 1177259"/>
              <a:gd name="connsiteY2" fmla="*/ 894920 h 1375531"/>
              <a:gd name="connsiteX3" fmla="*/ 1068759 w 1177259"/>
              <a:gd name="connsiteY3" fmla="*/ 1041119 h 1375531"/>
              <a:gd name="connsiteX4" fmla="*/ 91282 w 1177259"/>
              <a:gd name="connsiteY4" fmla="*/ 1373391 h 1375531"/>
              <a:gd name="connsiteX5" fmla="*/ 0 w 1177259"/>
              <a:gd name="connsiteY5" fmla="*/ 1260419 h 1375531"/>
              <a:gd name="connsiteX6" fmla="*/ 380 w 1177259"/>
              <a:gd name="connsiteY6" fmla="*/ 2215 h 1375531"/>
              <a:gd name="connsiteX0" fmla="*/ 380 w 1190511"/>
              <a:gd name="connsiteY0" fmla="*/ 2215 h 1375531"/>
              <a:gd name="connsiteX1" fmla="*/ 1166217 w 1190511"/>
              <a:gd name="connsiteY1" fmla="*/ 0 h 1375531"/>
              <a:gd name="connsiteX2" fmla="*/ 1163845 w 1190511"/>
              <a:gd name="connsiteY2" fmla="*/ 894920 h 1375531"/>
              <a:gd name="connsiteX3" fmla="*/ 1068759 w 1190511"/>
              <a:gd name="connsiteY3" fmla="*/ 1041119 h 1375531"/>
              <a:gd name="connsiteX4" fmla="*/ 91282 w 1190511"/>
              <a:gd name="connsiteY4" fmla="*/ 1373391 h 1375531"/>
              <a:gd name="connsiteX5" fmla="*/ 0 w 1190511"/>
              <a:gd name="connsiteY5" fmla="*/ 1260419 h 1375531"/>
              <a:gd name="connsiteX6" fmla="*/ 380 w 1190511"/>
              <a:gd name="connsiteY6" fmla="*/ 2215 h 1375531"/>
              <a:gd name="connsiteX0" fmla="*/ 380 w 1246984"/>
              <a:gd name="connsiteY0" fmla="*/ 2215 h 1375531"/>
              <a:gd name="connsiteX1" fmla="*/ 1166217 w 1246984"/>
              <a:gd name="connsiteY1" fmla="*/ 0 h 1375531"/>
              <a:gd name="connsiteX2" fmla="*/ 1163845 w 1246984"/>
              <a:gd name="connsiteY2" fmla="*/ 894920 h 1375531"/>
              <a:gd name="connsiteX3" fmla="*/ 1068759 w 1246984"/>
              <a:gd name="connsiteY3" fmla="*/ 1041119 h 1375531"/>
              <a:gd name="connsiteX4" fmla="*/ 91282 w 1246984"/>
              <a:gd name="connsiteY4" fmla="*/ 1373391 h 1375531"/>
              <a:gd name="connsiteX5" fmla="*/ 0 w 1246984"/>
              <a:gd name="connsiteY5" fmla="*/ 1260419 h 1375531"/>
              <a:gd name="connsiteX6" fmla="*/ 380 w 1246984"/>
              <a:gd name="connsiteY6" fmla="*/ 2215 h 1375531"/>
              <a:gd name="connsiteX0" fmla="*/ 380 w 1190511"/>
              <a:gd name="connsiteY0" fmla="*/ 2215 h 1375531"/>
              <a:gd name="connsiteX1" fmla="*/ 1166217 w 1190511"/>
              <a:gd name="connsiteY1" fmla="*/ 0 h 1375531"/>
              <a:gd name="connsiteX2" fmla="*/ 1163845 w 1190511"/>
              <a:gd name="connsiteY2" fmla="*/ 894920 h 1375531"/>
              <a:gd name="connsiteX3" fmla="*/ 1068759 w 1190511"/>
              <a:gd name="connsiteY3" fmla="*/ 1041119 h 1375531"/>
              <a:gd name="connsiteX4" fmla="*/ 91282 w 1190511"/>
              <a:gd name="connsiteY4" fmla="*/ 1373391 h 1375531"/>
              <a:gd name="connsiteX5" fmla="*/ 0 w 1190511"/>
              <a:gd name="connsiteY5" fmla="*/ 1260419 h 1375531"/>
              <a:gd name="connsiteX6" fmla="*/ 380 w 1190511"/>
              <a:gd name="connsiteY6" fmla="*/ 2215 h 1375531"/>
              <a:gd name="connsiteX0" fmla="*/ 380 w 1183009"/>
              <a:gd name="connsiteY0" fmla="*/ 2215 h 1375531"/>
              <a:gd name="connsiteX1" fmla="*/ 1166217 w 1183009"/>
              <a:gd name="connsiteY1" fmla="*/ 0 h 1375531"/>
              <a:gd name="connsiteX2" fmla="*/ 1163845 w 1183009"/>
              <a:gd name="connsiteY2" fmla="*/ 894920 h 1375531"/>
              <a:gd name="connsiteX3" fmla="*/ 1068759 w 1183009"/>
              <a:gd name="connsiteY3" fmla="*/ 1041119 h 1375531"/>
              <a:gd name="connsiteX4" fmla="*/ 91282 w 1183009"/>
              <a:gd name="connsiteY4" fmla="*/ 1373391 h 1375531"/>
              <a:gd name="connsiteX5" fmla="*/ 0 w 1183009"/>
              <a:gd name="connsiteY5" fmla="*/ 1260419 h 1375531"/>
              <a:gd name="connsiteX6" fmla="*/ 380 w 1183009"/>
              <a:gd name="connsiteY6" fmla="*/ 2215 h 1375531"/>
              <a:gd name="connsiteX0" fmla="*/ 380 w 1166217"/>
              <a:gd name="connsiteY0" fmla="*/ 2215 h 1375531"/>
              <a:gd name="connsiteX1" fmla="*/ 1166217 w 1166217"/>
              <a:gd name="connsiteY1" fmla="*/ 0 h 1375531"/>
              <a:gd name="connsiteX2" fmla="*/ 1163845 w 1166217"/>
              <a:gd name="connsiteY2" fmla="*/ 894920 h 1375531"/>
              <a:gd name="connsiteX3" fmla="*/ 1068759 w 1166217"/>
              <a:gd name="connsiteY3" fmla="*/ 1041119 h 1375531"/>
              <a:gd name="connsiteX4" fmla="*/ 91282 w 1166217"/>
              <a:gd name="connsiteY4" fmla="*/ 1373391 h 1375531"/>
              <a:gd name="connsiteX5" fmla="*/ 0 w 1166217"/>
              <a:gd name="connsiteY5" fmla="*/ 1260419 h 1375531"/>
              <a:gd name="connsiteX6" fmla="*/ 380 w 1166217"/>
              <a:gd name="connsiteY6" fmla="*/ 2215 h 1375531"/>
              <a:gd name="connsiteX0" fmla="*/ 6420 w 1172257"/>
              <a:gd name="connsiteY0" fmla="*/ 2215 h 1399780"/>
              <a:gd name="connsiteX1" fmla="*/ 1172257 w 1172257"/>
              <a:gd name="connsiteY1" fmla="*/ 0 h 1399780"/>
              <a:gd name="connsiteX2" fmla="*/ 1169885 w 1172257"/>
              <a:gd name="connsiteY2" fmla="*/ 894920 h 1399780"/>
              <a:gd name="connsiteX3" fmla="*/ 1074799 w 1172257"/>
              <a:gd name="connsiteY3" fmla="*/ 1041119 h 1399780"/>
              <a:gd name="connsiteX4" fmla="*/ 93519 w 1172257"/>
              <a:gd name="connsiteY4" fmla="*/ 1360100 h 1399780"/>
              <a:gd name="connsiteX5" fmla="*/ 6040 w 1172257"/>
              <a:gd name="connsiteY5" fmla="*/ 1260419 h 1399780"/>
              <a:gd name="connsiteX6" fmla="*/ 6420 w 1172257"/>
              <a:gd name="connsiteY6" fmla="*/ 2215 h 1399780"/>
              <a:gd name="connsiteX0" fmla="*/ 6420 w 1172257"/>
              <a:gd name="connsiteY0" fmla="*/ 2215 h 1400114"/>
              <a:gd name="connsiteX1" fmla="*/ 1172257 w 1172257"/>
              <a:gd name="connsiteY1" fmla="*/ 0 h 1400114"/>
              <a:gd name="connsiteX2" fmla="*/ 1169885 w 1172257"/>
              <a:gd name="connsiteY2" fmla="*/ 894920 h 1400114"/>
              <a:gd name="connsiteX3" fmla="*/ 1074799 w 1172257"/>
              <a:gd name="connsiteY3" fmla="*/ 1041119 h 1400114"/>
              <a:gd name="connsiteX4" fmla="*/ 93519 w 1172257"/>
              <a:gd name="connsiteY4" fmla="*/ 1360100 h 1400114"/>
              <a:gd name="connsiteX5" fmla="*/ 6040 w 1172257"/>
              <a:gd name="connsiteY5" fmla="*/ 1260419 h 1400114"/>
              <a:gd name="connsiteX6" fmla="*/ 6420 w 1172257"/>
              <a:gd name="connsiteY6" fmla="*/ 2215 h 1400114"/>
              <a:gd name="connsiteX0" fmla="*/ 666 w 1166503"/>
              <a:gd name="connsiteY0" fmla="*/ 2215 h 1363444"/>
              <a:gd name="connsiteX1" fmla="*/ 1166503 w 1166503"/>
              <a:gd name="connsiteY1" fmla="*/ 0 h 1363444"/>
              <a:gd name="connsiteX2" fmla="*/ 1164131 w 1166503"/>
              <a:gd name="connsiteY2" fmla="*/ 894920 h 1363444"/>
              <a:gd name="connsiteX3" fmla="*/ 1069045 w 1166503"/>
              <a:gd name="connsiteY3" fmla="*/ 1041119 h 1363444"/>
              <a:gd name="connsiteX4" fmla="*/ 87765 w 1166503"/>
              <a:gd name="connsiteY4" fmla="*/ 1360100 h 1363444"/>
              <a:gd name="connsiteX5" fmla="*/ 286 w 1166503"/>
              <a:gd name="connsiteY5" fmla="*/ 1260419 h 1363444"/>
              <a:gd name="connsiteX6" fmla="*/ 666 w 1166503"/>
              <a:gd name="connsiteY6" fmla="*/ 2215 h 1363444"/>
              <a:gd name="connsiteX0" fmla="*/ 666 w 1168481"/>
              <a:gd name="connsiteY0" fmla="*/ 6645 h 1367874"/>
              <a:gd name="connsiteX1" fmla="*/ 1156995 w 1168481"/>
              <a:gd name="connsiteY1" fmla="*/ 0 h 1367874"/>
              <a:gd name="connsiteX2" fmla="*/ 1164131 w 1168481"/>
              <a:gd name="connsiteY2" fmla="*/ 899350 h 1367874"/>
              <a:gd name="connsiteX3" fmla="*/ 1069045 w 1168481"/>
              <a:gd name="connsiteY3" fmla="*/ 1045549 h 1367874"/>
              <a:gd name="connsiteX4" fmla="*/ 87765 w 1168481"/>
              <a:gd name="connsiteY4" fmla="*/ 1364530 h 1367874"/>
              <a:gd name="connsiteX5" fmla="*/ 286 w 1168481"/>
              <a:gd name="connsiteY5" fmla="*/ 1264849 h 1367874"/>
              <a:gd name="connsiteX6" fmla="*/ 666 w 1168481"/>
              <a:gd name="connsiteY6" fmla="*/ 6645 h 1367874"/>
              <a:gd name="connsiteX0" fmla="*/ 666 w 1169473"/>
              <a:gd name="connsiteY0" fmla="*/ 6645 h 1367874"/>
              <a:gd name="connsiteX1" fmla="*/ 1156995 w 1169473"/>
              <a:gd name="connsiteY1" fmla="*/ 0 h 1367874"/>
              <a:gd name="connsiteX2" fmla="*/ 1164131 w 1169473"/>
              <a:gd name="connsiteY2" fmla="*/ 899350 h 1367874"/>
              <a:gd name="connsiteX3" fmla="*/ 1069045 w 1169473"/>
              <a:gd name="connsiteY3" fmla="*/ 1045549 h 1367874"/>
              <a:gd name="connsiteX4" fmla="*/ 87765 w 1169473"/>
              <a:gd name="connsiteY4" fmla="*/ 1364530 h 1367874"/>
              <a:gd name="connsiteX5" fmla="*/ 286 w 1169473"/>
              <a:gd name="connsiteY5" fmla="*/ 1264849 h 1367874"/>
              <a:gd name="connsiteX6" fmla="*/ 666 w 1169473"/>
              <a:gd name="connsiteY6" fmla="*/ 6645 h 1367874"/>
              <a:gd name="connsiteX0" fmla="*/ 666 w 1162319"/>
              <a:gd name="connsiteY0" fmla="*/ 6645 h 1367874"/>
              <a:gd name="connsiteX1" fmla="*/ 1156995 w 1162319"/>
              <a:gd name="connsiteY1" fmla="*/ 0 h 1367874"/>
              <a:gd name="connsiteX2" fmla="*/ 1154622 w 1162319"/>
              <a:gd name="connsiteY2" fmla="*/ 886059 h 1367874"/>
              <a:gd name="connsiteX3" fmla="*/ 1069045 w 1162319"/>
              <a:gd name="connsiteY3" fmla="*/ 1045549 h 1367874"/>
              <a:gd name="connsiteX4" fmla="*/ 87765 w 1162319"/>
              <a:gd name="connsiteY4" fmla="*/ 1364530 h 1367874"/>
              <a:gd name="connsiteX5" fmla="*/ 286 w 1162319"/>
              <a:gd name="connsiteY5" fmla="*/ 1264849 h 1367874"/>
              <a:gd name="connsiteX6" fmla="*/ 666 w 1162319"/>
              <a:gd name="connsiteY6" fmla="*/ 6645 h 1367874"/>
              <a:gd name="connsiteX0" fmla="*/ 666 w 1157419"/>
              <a:gd name="connsiteY0" fmla="*/ 6645 h 1367874"/>
              <a:gd name="connsiteX1" fmla="*/ 1156995 w 1157419"/>
              <a:gd name="connsiteY1" fmla="*/ 0 h 1367874"/>
              <a:gd name="connsiteX2" fmla="*/ 1154622 w 1157419"/>
              <a:gd name="connsiteY2" fmla="*/ 886059 h 1367874"/>
              <a:gd name="connsiteX3" fmla="*/ 1069045 w 1157419"/>
              <a:gd name="connsiteY3" fmla="*/ 1045549 h 1367874"/>
              <a:gd name="connsiteX4" fmla="*/ 87765 w 1157419"/>
              <a:gd name="connsiteY4" fmla="*/ 1364530 h 1367874"/>
              <a:gd name="connsiteX5" fmla="*/ 286 w 1157419"/>
              <a:gd name="connsiteY5" fmla="*/ 1264849 h 1367874"/>
              <a:gd name="connsiteX6" fmla="*/ 666 w 1157419"/>
              <a:gd name="connsiteY6" fmla="*/ 6645 h 1367874"/>
              <a:gd name="connsiteX0" fmla="*/ 666 w 1157396"/>
              <a:gd name="connsiteY0" fmla="*/ 6645 h 1367874"/>
              <a:gd name="connsiteX1" fmla="*/ 1156995 w 1157396"/>
              <a:gd name="connsiteY1" fmla="*/ 0 h 1367874"/>
              <a:gd name="connsiteX2" fmla="*/ 1154622 w 1157396"/>
              <a:gd name="connsiteY2" fmla="*/ 886059 h 1367874"/>
              <a:gd name="connsiteX3" fmla="*/ 1069045 w 1157396"/>
              <a:gd name="connsiteY3" fmla="*/ 1045549 h 1367874"/>
              <a:gd name="connsiteX4" fmla="*/ 87765 w 1157396"/>
              <a:gd name="connsiteY4" fmla="*/ 1364530 h 1367874"/>
              <a:gd name="connsiteX5" fmla="*/ 286 w 1157396"/>
              <a:gd name="connsiteY5" fmla="*/ 1264849 h 1367874"/>
              <a:gd name="connsiteX6" fmla="*/ 666 w 1157396"/>
              <a:gd name="connsiteY6" fmla="*/ 6645 h 1367874"/>
              <a:gd name="connsiteX0" fmla="*/ 666 w 1154651"/>
              <a:gd name="connsiteY0" fmla="*/ 6645 h 1367874"/>
              <a:gd name="connsiteX1" fmla="*/ 726871 w 1154651"/>
              <a:gd name="connsiteY1" fmla="*/ 0 h 1367874"/>
              <a:gd name="connsiteX2" fmla="*/ 1154622 w 1154651"/>
              <a:gd name="connsiteY2" fmla="*/ 886059 h 1367874"/>
              <a:gd name="connsiteX3" fmla="*/ 1069045 w 1154651"/>
              <a:gd name="connsiteY3" fmla="*/ 1045549 h 1367874"/>
              <a:gd name="connsiteX4" fmla="*/ 87765 w 1154651"/>
              <a:gd name="connsiteY4" fmla="*/ 1364530 h 1367874"/>
              <a:gd name="connsiteX5" fmla="*/ 286 w 1154651"/>
              <a:gd name="connsiteY5" fmla="*/ 1264849 h 1367874"/>
              <a:gd name="connsiteX6" fmla="*/ 666 w 1154651"/>
              <a:gd name="connsiteY6" fmla="*/ 6645 h 1367874"/>
              <a:gd name="connsiteX0" fmla="*/ 666 w 1087791"/>
              <a:gd name="connsiteY0" fmla="*/ 6645 h 1367874"/>
              <a:gd name="connsiteX1" fmla="*/ 726871 w 1087791"/>
              <a:gd name="connsiteY1" fmla="*/ 0 h 1367874"/>
              <a:gd name="connsiteX2" fmla="*/ 757197 w 1087791"/>
              <a:gd name="connsiteY2" fmla="*/ 906568 h 1367874"/>
              <a:gd name="connsiteX3" fmla="*/ 1069045 w 1087791"/>
              <a:gd name="connsiteY3" fmla="*/ 1045549 h 1367874"/>
              <a:gd name="connsiteX4" fmla="*/ 87765 w 1087791"/>
              <a:gd name="connsiteY4" fmla="*/ 1364530 h 1367874"/>
              <a:gd name="connsiteX5" fmla="*/ 286 w 1087791"/>
              <a:gd name="connsiteY5" fmla="*/ 1264849 h 1367874"/>
              <a:gd name="connsiteX6" fmla="*/ 666 w 1087791"/>
              <a:gd name="connsiteY6" fmla="*/ 6645 h 1367874"/>
              <a:gd name="connsiteX0" fmla="*/ 666 w 1085800"/>
              <a:gd name="connsiteY0" fmla="*/ 6645 h 1367874"/>
              <a:gd name="connsiteX1" fmla="*/ 726871 w 1085800"/>
              <a:gd name="connsiteY1" fmla="*/ 0 h 1367874"/>
              <a:gd name="connsiteX2" fmla="*/ 732043 w 1085800"/>
              <a:gd name="connsiteY2" fmla="*/ 903638 h 1367874"/>
              <a:gd name="connsiteX3" fmla="*/ 1069045 w 1085800"/>
              <a:gd name="connsiteY3" fmla="*/ 1045549 h 1367874"/>
              <a:gd name="connsiteX4" fmla="*/ 87765 w 1085800"/>
              <a:gd name="connsiteY4" fmla="*/ 1364530 h 1367874"/>
              <a:gd name="connsiteX5" fmla="*/ 286 w 1085800"/>
              <a:gd name="connsiteY5" fmla="*/ 1264849 h 1367874"/>
              <a:gd name="connsiteX6" fmla="*/ 666 w 1085800"/>
              <a:gd name="connsiteY6" fmla="*/ 6645 h 1367874"/>
              <a:gd name="connsiteX0" fmla="*/ 666 w 733624"/>
              <a:gd name="connsiteY0" fmla="*/ 6645 h 1367874"/>
              <a:gd name="connsiteX1" fmla="*/ 726871 w 733624"/>
              <a:gd name="connsiteY1" fmla="*/ 0 h 1367874"/>
              <a:gd name="connsiteX2" fmla="*/ 732043 w 733624"/>
              <a:gd name="connsiteY2" fmla="*/ 903638 h 1367874"/>
              <a:gd name="connsiteX3" fmla="*/ 643952 w 733624"/>
              <a:gd name="connsiteY3" fmla="*/ 1192041 h 1367874"/>
              <a:gd name="connsiteX4" fmla="*/ 87765 w 733624"/>
              <a:gd name="connsiteY4" fmla="*/ 1364530 h 1367874"/>
              <a:gd name="connsiteX5" fmla="*/ 286 w 733624"/>
              <a:gd name="connsiteY5" fmla="*/ 1264849 h 1367874"/>
              <a:gd name="connsiteX6" fmla="*/ 666 w 733624"/>
              <a:gd name="connsiteY6" fmla="*/ 6645 h 1367874"/>
              <a:gd name="connsiteX0" fmla="*/ 666 w 733624"/>
              <a:gd name="connsiteY0" fmla="*/ 6645 h 1367874"/>
              <a:gd name="connsiteX1" fmla="*/ 726871 w 733624"/>
              <a:gd name="connsiteY1" fmla="*/ 0 h 1367874"/>
              <a:gd name="connsiteX2" fmla="*/ 732043 w 733624"/>
              <a:gd name="connsiteY2" fmla="*/ 976884 h 1367874"/>
              <a:gd name="connsiteX3" fmla="*/ 643952 w 733624"/>
              <a:gd name="connsiteY3" fmla="*/ 1192041 h 1367874"/>
              <a:gd name="connsiteX4" fmla="*/ 87765 w 733624"/>
              <a:gd name="connsiteY4" fmla="*/ 1364530 h 1367874"/>
              <a:gd name="connsiteX5" fmla="*/ 286 w 733624"/>
              <a:gd name="connsiteY5" fmla="*/ 1264849 h 1367874"/>
              <a:gd name="connsiteX6" fmla="*/ 666 w 733624"/>
              <a:gd name="connsiteY6" fmla="*/ 6645 h 1367874"/>
              <a:gd name="connsiteX0" fmla="*/ 666 w 732674"/>
              <a:gd name="connsiteY0" fmla="*/ 6645 h 1367874"/>
              <a:gd name="connsiteX1" fmla="*/ 726871 w 732674"/>
              <a:gd name="connsiteY1" fmla="*/ 0 h 1367874"/>
              <a:gd name="connsiteX2" fmla="*/ 732043 w 732674"/>
              <a:gd name="connsiteY2" fmla="*/ 976884 h 1367874"/>
              <a:gd name="connsiteX3" fmla="*/ 643952 w 732674"/>
              <a:gd name="connsiteY3" fmla="*/ 1192041 h 1367874"/>
              <a:gd name="connsiteX4" fmla="*/ 87765 w 732674"/>
              <a:gd name="connsiteY4" fmla="*/ 1364530 h 1367874"/>
              <a:gd name="connsiteX5" fmla="*/ 286 w 732674"/>
              <a:gd name="connsiteY5" fmla="*/ 1264849 h 1367874"/>
              <a:gd name="connsiteX6" fmla="*/ 666 w 732674"/>
              <a:gd name="connsiteY6" fmla="*/ 6645 h 1367874"/>
              <a:gd name="connsiteX0" fmla="*/ 666 w 732674"/>
              <a:gd name="connsiteY0" fmla="*/ 0 h 1361229"/>
              <a:gd name="connsiteX1" fmla="*/ 731902 w 732674"/>
              <a:gd name="connsiteY1" fmla="*/ 8004 h 1361229"/>
              <a:gd name="connsiteX2" fmla="*/ 732043 w 732674"/>
              <a:gd name="connsiteY2" fmla="*/ 970239 h 1361229"/>
              <a:gd name="connsiteX3" fmla="*/ 643952 w 732674"/>
              <a:gd name="connsiteY3" fmla="*/ 1185396 h 1361229"/>
              <a:gd name="connsiteX4" fmla="*/ 87765 w 732674"/>
              <a:gd name="connsiteY4" fmla="*/ 1357885 h 1361229"/>
              <a:gd name="connsiteX5" fmla="*/ 286 w 732674"/>
              <a:gd name="connsiteY5" fmla="*/ 1258204 h 1361229"/>
              <a:gd name="connsiteX6" fmla="*/ 666 w 732674"/>
              <a:gd name="connsiteY6" fmla="*/ 0 h 1361229"/>
              <a:gd name="connsiteX0" fmla="*/ 666 w 732674"/>
              <a:gd name="connsiteY0" fmla="*/ 3715 h 1364944"/>
              <a:gd name="connsiteX1" fmla="*/ 729386 w 732674"/>
              <a:gd name="connsiteY1" fmla="*/ 0 h 1364944"/>
              <a:gd name="connsiteX2" fmla="*/ 732043 w 732674"/>
              <a:gd name="connsiteY2" fmla="*/ 973954 h 1364944"/>
              <a:gd name="connsiteX3" fmla="*/ 643952 w 732674"/>
              <a:gd name="connsiteY3" fmla="*/ 1189111 h 1364944"/>
              <a:gd name="connsiteX4" fmla="*/ 87765 w 732674"/>
              <a:gd name="connsiteY4" fmla="*/ 1361600 h 1364944"/>
              <a:gd name="connsiteX5" fmla="*/ 286 w 732674"/>
              <a:gd name="connsiteY5" fmla="*/ 1261919 h 1364944"/>
              <a:gd name="connsiteX6" fmla="*/ 666 w 732674"/>
              <a:gd name="connsiteY6" fmla="*/ 3715 h 1364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2674" h="1364944">
                <a:moveTo>
                  <a:pt x="666" y="3715"/>
                </a:moveTo>
                <a:lnTo>
                  <a:pt x="729386" y="0"/>
                </a:lnTo>
                <a:cubicBezTo>
                  <a:pt x="731225" y="268401"/>
                  <a:pt x="731128" y="795267"/>
                  <a:pt x="732043" y="973954"/>
                </a:cubicBezTo>
                <a:cubicBezTo>
                  <a:pt x="732587" y="1080157"/>
                  <a:pt x="743786" y="1153802"/>
                  <a:pt x="643952" y="1189111"/>
                </a:cubicBezTo>
                <a:cubicBezTo>
                  <a:pt x="525805" y="1230897"/>
                  <a:pt x="403734" y="1272869"/>
                  <a:pt x="87765" y="1361600"/>
                </a:cubicBezTo>
                <a:cubicBezTo>
                  <a:pt x="41105" y="1374703"/>
                  <a:pt x="1490" y="1350894"/>
                  <a:pt x="286" y="1261919"/>
                </a:cubicBezTo>
                <a:cubicBezTo>
                  <a:pt x="-918" y="1172944"/>
                  <a:pt x="2173" y="275809"/>
                  <a:pt x="666" y="371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lIns="251953" tIns="233957" rIns="215960" bIns="93583">
            <a:noAutofit/>
          </a:bodyPr>
          <a:lstStyle>
            <a:lvl1pPr marL="0" indent="0">
              <a:spcBef>
                <a:spcPts val="1800"/>
              </a:spcBef>
              <a:buFontTx/>
              <a:buNone/>
              <a:defRPr b="0" i="0">
                <a:solidFill>
                  <a:schemeClr val="bg1"/>
                </a:solidFill>
                <a:latin typeface="Univers 45 Light"/>
                <a:cs typeface="Univers 45 Light"/>
              </a:defRPr>
            </a:lvl1pPr>
            <a:lvl2pPr marL="457116" indent="0">
              <a:buFontTx/>
              <a:buNone/>
              <a:defRPr/>
            </a:lvl2pPr>
            <a:lvl3pPr marL="914231" indent="0">
              <a:buFontTx/>
              <a:buNone/>
              <a:defRPr/>
            </a:lvl3pPr>
            <a:lvl4pPr marL="1263417" indent="0">
              <a:buFontTx/>
              <a:buNone/>
              <a:defRPr/>
            </a:lvl4pPr>
            <a:lvl5pPr marL="1599906" indent="0">
              <a:buFontTx/>
              <a:buNone/>
              <a:defRPr/>
            </a:lvl5pPr>
          </a:lstStyle>
          <a:p>
            <a:pPr lvl="0"/>
            <a:r>
              <a:rPr lang="es-ES_tradnl" dirty="0"/>
              <a:t>Escriba el texto</a:t>
            </a:r>
            <a:endParaRPr lang="es-ES" dirty="0"/>
          </a:p>
        </p:txBody>
      </p:sp>
      <p:sp>
        <p:nvSpPr>
          <p:cNvPr id="18" name="Marcador de texto 4"/>
          <p:cNvSpPr>
            <a:spLocks noGrp="1"/>
          </p:cNvSpPr>
          <p:nvPr>
            <p:ph type="body" sz="quarter" idx="25" hasCustomPrompt="1"/>
          </p:nvPr>
        </p:nvSpPr>
        <p:spPr>
          <a:xfrm>
            <a:off x="6300192" y="2984919"/>
            <a:ext cx="2176043" cy="3480374"/>
          </a:xfrm>
          <a:custGeom>
            <a:avLst/>
            <a:gdLst>
              <a:gd name="connsiteX0" fmla="*/ 0 w 1152525"/>
              <a:gd name="connsiteY0" fmla="*/ 0 h 1295400"/>
              <a:gd name="connsiteX1" fmla="*/ 1152525 w 1152525"/>
              <a:gd name="connsiteY1" fmla="*/ 0 h 1295400"/>
              <a:gd name="connsiteX2" fmla="*/ 1152525 w 1152525"/>
              <a:gd name="connsiteY2" fmla="*/ 1295400 h 1295400"/>
              <a:gd name="connsiteX3" fmla="*/ 0 w 1152525"/>
              <a:gd name="connsiteY3" fmla="*/ 1295400 h 1295400"/>
              <a:gd name="connsiteX4" fmla="*/ 0 w 1152525"/>
              <a:gd name="connsiteY4" fmla="*/ 0 h 1295400"/>
              <a:gd name="connsiteX0" fmla="*/ 0 w 1165225"/>
              <a:gd name="connsiteY0" fmla="*/ 0 h 1295400"/>
              <a:gd name="connsiteX1" fmla="*/ 1152525 w 1165225"/>
              <a:gd name="connsiteY1" fmla="*/ 0 h 1295400"/>
              <a:gd name="connsiteX2" fmla="*/ 1165225 w 1165225"/>
              <a:gd name="connsiteY2" fmla="*/ 838200 h 1295400"/>
              <a:gd name="connsiteX3" fmla="*/ 0 w 1165225"/>
              <a:gd name="connsiteY3" fmla="*/ 1295400 h 1295400"/>
              <a:gd name="connsiteX4" fmla="*/ 0 w 1165225"/>
              <a:gd name="connsiteY4" fmla="*/ 0 h 1295400"/>
              <a:gd name="connsiteX0" fmla="*/ 9509 w 1174734"/>
              <a:gd name="connsiteY0" fmla="*/ 0 h 1421663"/>
              <a:gd name="connsiteX1" fmla="*/ 1162034 w 1174734"/>
              <a:gd name="connsiteY1" fmla="*/ 0 h 1421663"/>
              <a:gd name="connsiteX2" fmla="*/ 1174734 w 1174734"/>
              <a:gd name="connsiteY2" fmla="*/ 838200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4734"/>
              <a:gd name="connsiteY0" fmla="*/ 0 h 1421663"/>
              <a:gd name="connsiteX1" fmla="*/ 1162034 w 1174734"/>
              <a:gd name="connsiteY1" fmla="*/ 0 h 1421663"/>
              <a:gd name="connsiteX2" fmla="*/ 1174734 w 1174734"/>
              <a:gd name="connsiteY2" fmla="*/ 1010981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4734"/>
              <a:gd name="connsiteY0" fmla="*/ 0 h 1421663"/>
              <a:gd name="connsiteX1" fmla="*/ 1169641 w 1174734"/>
              <a:gd name="connsiteY1" fmla="*/ 0 h 1421663"/>
              <a:gd name="connsiteX2" fmla="*/ 1174734 w 1174734"/>
              <a:gd name="connsiteY2" fmla="*/ 1010981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5774"/>
              <a:gd name="connsiteY0" fmla="*/ 2215 h 1423878"/>
              <a:gd name="connsiteX1" fmla="*/ 1175346 w 1175774"/>
              <a:gd name="connsiteY1" fmla="*/ 0 h 1423878"/>
              <a:gd name="connsiteX2" fmla="*/ 1174734 w 1175774"/>
              <a:gd name="connsiteY2" fmla="*/ 1013196 h 1423878"/>
              <a:gd name="connsiteX3" fmla="*/ 0 w 1175774"/>
              <a:gd name="connsiteY3" fmla="*/ 1423878 h 1423878"/>
              <a:gd name="connsiteX4" fmla="*/ 9509 w 1175774"/>
              <a:gd name="connsiteY4" fmla="*/ 2215 h 1423878"/>
              <a:gd name="connsiteX0" fmla="*/ 5706 w 1171971"/>
              <a:gd name="connsiteY0" fmla="*/ 2215 h 1421663"/>
              <a:gd name="connsiteX1" fmla="*/ 1171543 w 1171971"/>
              <a:gd name="connsiteY1" fmla="*/ 0 h 1421663"/>
              <a:gd name="connsiteX2" fmla="*/ 1170931 w 1171971"/>
              <a:gd name="connsiteY2" fmla="*/ 1013196 h 1421663"/>
              <a:gd name="connsiteX3" fmla="*/ 0 w 1171971"/>
              <a:gd name="connsiteY3" fmla="*/ 1421663 h 1421663"/>
              <a:gd name="connsiteX4" fmla="*/ 5706 w 1171971"/>
              <a:gd name="connsiteY4" fmla="*/ 2215 h 1421663"/>
              <a:gd name="connsiteX0" fmla="*/ 916 w 1167181"/>
              <a:gd name="connsiteY0" fmla="*/ 2215 h 1417233"/>
              <a:gd name="connsiteX1" fmla="*/ 1166753 w 1167181"/>
              <a:gd name="connsiteY1" fmla="*/ 0 h 1417233"/>
              <a:gd name="connsiteX2" fmla="*/ 1166141 w 1167181"/>
              <a:gd name="connsiteY2" fmla="*/ 1013196 h 1417233"/>
              <a:gd name="connsiteX3" fmla="*/ 915 w 1167181"/>
              <a:gd name="connsiteY3" fmla="*/ 1417233 h 1417233"/>
              <a:gd name="connsiteX4" fmla="*/ 916 w 1167181"/>
              <a:gd name="connsiteY4" fmla="*/ 2215 h 1417233"/>
              <a:gd name="connsiteX0" fmla="*/ 916 w 1167181"/>
              <a:gd name="connsiteY0" fmla="*/ 2215 h 1403942"/>
              <a:gd name="connsiteX1" fmla="*/ 1166753 w 1167181"/>
              <a:gd name="connsiteY1" fmla="*/ 0 h 1403942"/>
              <a:gd name="connsiteX2" fmla="*/ 1166141 w 1167181"/>
              <a:gd name="connsiteY2" fmla="*/ 1013196 h 1403942"/>
              <a:gd name="connsiteX3" fmla="*/ 915 w 1167181"/>
              <a:gd name="connsiteY3" fmla="*/ 1403942 h 1403942"/>
              <a:gd name="connsiteX4" fmla="*/ 916 w 1167181"/>
              <a:gd name="connsiteY4" fmla="*/ 2215 h 1403942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86483 w 1252749"/>
              <a:gd name="connsiteY3" fmla="*/ 1403942 h 1438510"/>
              <a:gd name="connsiteX4" fmla="*/ 86104 w 1252749"/>
              <a:gd name="connsiteY4" fmla="*/ 1260419 h 1438510"/>
              <a:gd name="connsiteX5" fmla="*/ 86484 w 1252749"/>
              <a:gd name="connsiteY5" fmla="*/ 2215 h 1438510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177386 w 1252749"/>
              <a:gd name="connsiteY3" fmla="*/ 1373391 h 1438510"/>
              <a:gd name="connsiteX4" fmla="*/ 86483 w 1252749"/>
              <a:gd name="connsiteY4" fmla="*/ 1403942 h 1438510"/>
              <a:gd name="connsiteX5" fmla="*/ 86104 w 1252749"/>
              <a:gd name="connsiteY5" fmla="*/ 1260419 h 1438510"/>
              <a:gd name="connsiteX6" fmla="*/ 86484 w 1252749"/>
              <a:gd name="connsiteY6" fmla="*/ 2215 h 1438510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1154863 w 1252749"/>
              <a:gd name="connsiteY3" fmla="*/ 1041119 h 1438510"/>
              <a:gd name="connsiteX4" fmla="*/ 177386 w 1252749"/>
              <a:gd name="connsiteY4" fmla="*/ 1373391 h 1438510"/>
              <a:gd name="connsiteX5" fmla="*/ 86483 w 1252749"/>
              <a:gd name="connsiteY5" fmla="*/ 1403942 h 1438510"/>
              <a:gd name="connsiteX6" fmla="*/ 86104 w 1252749"/>
              <a:gd name="connsiteY6" fmla="*/ 1260419 h 1438510"/>
              <a:gd name="connsiteX7" fmla="*/ 86484 w 1252749"/>
              <a:gd name="connsiteY7" fmla="*/ 2215 h 1438510"/>
              <a:gd name="connsiteX0" fmla="*/ 86484 w 1337915"/>
              <a:gd name="connsiteY0" fmla="*/ 2215 h 1438510"/>
              <a:gd name="connsiteX1" fmla="*/ 1252321 w 1337915"/>
              <a:gd name="connsiteY1" fmla="*/ 0 h 1438510"/>
              <a:gd name="connsiteX2" fmla="*/ 1249949 w 1337915"/>
              <a:gd name="connsiteY2" fmla="*/ 894920 h 1438510"/>
              <a:gd name="connsiteX3" fmla="*/ 1251709 w 1337915"/>
              <a:gd name="connsiteY3" fmla="*/ 1013196 h 1438510"/>
              <a:gd name="connsiteX4" fmla="*/ 1154863 w 1337915"/>
              <a:gd name="connsiteY4" fmla="*/ 1041119 h 1438510"/>
              <a:gd name="connsiteX5" fmla="*/ 177386 w 1337915"/>
              <a:gd name="connsiteY5" fmla="*/ 1373391 h 1438510"/>
              <a:gd name="connsiteX6" fmla="*/ 86483 w 1337915"/>
              <a:gd name="connsiteY6" fmla="*/ 1403942 h 1438510"/>
              <a:gd name="connsiteX7" fmla="*/ 86104 w 1337915"/>
              <a:gd name="connsiteY7" fmla="*/ 1260419 h 1438510"/>
              <a:gd name="connsiteX8" fmla="*/ 86484 w 1337915"/>
              <a:gd name="connsiteY8" fmla="*/ 2215 h 1438510"/>
              <a:gd name="connsiteX0" fmla="*/ 86484 w 1341572"/>
              <a:gd name="connsiteY0" fmla="*/ 2215 h 1438510"/>
              <a:gd name="connsiteX1" fmla="*/ 1252321 w 1341572"/>
              <a:gd name="connsiteY1" fmla="*/ 0 h 1438510"/>
              <a:gd name="connsiteX2" fmla="*/ 1249949 w 1341572"/>
              <a:gd name="connsiteY2" fmla="*/ 894920 h 1438510"/>
              <a:gd name="connsiteX3" fmla="*/ 1154863 w 1341572"/>
              <a:gd name="connsiteY3" fmla="*/ 1041119 h 1438510"/>
              <a:gd name="connsiteX4" fmla="*/ 177386 w 1341572"/>
              <a:gd name="connsiteY4" fmla="*/ 1373391 h 1438510"/>
              <a:gd name="connsiteX5" fmla="*/ 86483 w 1341572"/>
              <a:gd name="connsiteY5" fmla="*/ 1403942 h 1438510"/>
              <a:gd name="connsiteX6" fmla="*/ 86104 w 1341572"/>
              <a:gd name="connsiteY6" fmla="*/ 1260419 h 1438510"/>
              <a:gd name="connsiteX7" fmla="*/ 86484 w 1341572"/>
              <a:gd name="connsiteY7" fmla="*/ 2215 h 1438510"/>
              <a:gd name="connsiteX0" fmla="*/ 86484 w 1341572"/>
              <a:gd name="connsiteY0" fmla="*/ 2215 h 1373391"/>
              <a:gd name="connsiteX1" fmla="*/ 1252321 w 1341572"/>
              <a:gd name="connsiteY1" fmla="*/ 0 h 1373391"/>
              <a:gd name="connsiteX2" fmla="*/ 1249949 w 1341572"/>
              <a:gd name="connsiteY2" fmla="*/ 894920 h 1373391"/>
              <a:gd name="connsiteX3" fmla="*/ 1154863 w 1341572"/>
              <a:gd name="connsiteY3" fmla="*/ 1041119 h 1373391"/>
              <a:gd name="connsiteX4" fmla="*/ 177386 w 1341572"/>
              <a:gd name="connsiteY4" fmla="*/ 1373391 h 1373391"/>
              <a:gd name="connsiteX5" fmla="*/ 86104 w 1341572"/>
              <a:gd name="connsiteY5" fmla="*/ 1260419 h 1373391"/>
              <a:gd name="connsiteX6" fmla="*/ 86484 w 1341572"/>
              <a:gd name="connsiteY6" fmla="*/ 2215 h 1373391"/>
              <a:gd name="connsiteX0" fmla="*/ 86484 w 1341572"/>
              <a:gd name="connsiteY0" fmla="*/ 2215 h 1380291"/>
              <a:gd name="connsiteX1" fmla="*/ 1252321 w 1341572"/>
              <a:gd name="connsiteY1" fmla="*/ 0 h 1380291"/>
              <a:gd name="connsiteX2" fmla="*/ 1249949 w 1341572"/>
              <a:gd name="connsiteY2" fmla="*/ 894920 h 1380291"/>
              <a:gd name="connsiteX3" fmla="*/ 1154863 w 1341572"/>
              <a:gd name="connsiteY3" fmla="*/ 1041119 h 1380291"/>
              <a:gd name="connsiteX4" fmla="*/ 177386 w 1341572"/>
              <a:gd name="connsiteY4" fmla="*/ 1373391 h 1380291"/>
              <a:gd name="connsiteX5" fmla="*/ 86104 w 1341572"/>
              <a:gd name="connsiteY5" fmla="*/ 1260419 h 1380291"/>
              <a:gd name="connsiteX6" fmla="*/ 86484 w 1341572"/>
              <a:gd name="connsiteY6" fmla="*/ 2215 h 1380291"/>
              <a:gd name="connsiteX0" fmla="*/ 86484 w 1341572"/>
              <a:gd name="connsiteY0" fmla="*/ 2215 h 1425606"/>
              <a:gd name="connsiteX1" fmla="*/ 1252321 w 1341572"/>
              <a:gd name="connsiteY1" fmla="*/ 0 h 1425606"/>
              <a:gd name="connsiteX2" fmla="*/ 1249949 w 1341572"/>
              <a:gd name="connsiteY2" fmla="*/ 894920 h 1425606"/>
              <a:gd name="connsiteX3" fmla="*/ 1154863 w 1341572"/>
              <a:gd name="connsiteY3" fmla="*/ 1041119 h 1425606"/>
              <a:gd name="connsiteX4" fmla="*/ 177386 w 1341572"/>
              <a:gd name="connsiteY4" fmla="*/ 1373391 h 1425606"/>
              <a:gd name="connsiteX5" fmla="*/ 86104 w 1341572"/>
              <a:gd name="connsiteY5" fmla="*/ 1260419 h 1425606"/>
              <a:gd name="connsiteX6" fmla="*/ 86484 w 1341572"/>
              <a:gd name="connsiteY6" fmla="*/ 2215 h 1425606"/>
              <a:gd name="connsiteX0" fmla="*/ 86484 w 1341572"/>
              <a:gd name="connsiteY0" fmla="*/ 2215 h 1410556"/>
              <a:gd name="connsiteX1" fmla="*/ 1252321 w 1341572"/>
              <a:gd name="connsiteY1" fmla="*/ 0 h 1410556"/>
              <a:gd name="connsiteX2" fmla="*/ 1249949 w 1341572"/>
              <a:gd name="connsiteY2" fmla="*/ 894920 h 1410556"/>
              <a:gd name="connsiteX3" fmla="*/ 1154863 w 1341572"/>
              <a:gd name="connsiteY3" fmla="*/ 1041119 h 1410556"/>
              <a:gd name="connsiteX4" fmla="*/ 177386 w 1341572"/>
              <a:gd name="connsiteY4" fmla="*/ 1373391 h 1410556"/>
              <a:gd name="connsiteX5" fmla="*/ 86104 w 1341572"/>
              <a:gd name="connsiteY5" fmla="*/ 1260419 h 1410556"/>
              <a:gd name="connsiteX6" fmla="*/ 86484 w 1341572"/>
              <a:gd name="connsiteY6" fmla="*/ 2215 h 1410556"/>
              <a:gd name="connsiteX0" fmla="*/ 86484 w 1341572"/>
              <a:gd name="connsiteY0" fmla="*/ 2215 h 1416904"/>
              <a:gd name="connsiteX1" fmla="*/ 1252321 w 1341572"/>
              <a:gd name="connsiteY1" fmla="*/ 0 h 1416904"/>
              <a:gd name="connsiteX2" fmla="*/ 1249949 w 1341572"/>
              <a:gd name="connsiteY2" fmla="*/ 894920 h 1416904"/>
              <a:gd name="connsiteX3" fmla="*/ 1154863 w 1341572"/>
              <a:gd name="connsiteY3" fmla="*/ 1041119 h 1416904"/>
              <a:gd name="connsiteX4" fmla="*/ 177386 w 1341572"/>
              <a:gd name="connsiteY4" fmla="*/ 1373391 h 1416904"/>
              <a:gd name="connsiteX5" fmla="*/ 86104 w 1341572"/>
              <a:gd name="connsiteY5" fmla="*/ 1260419 h 1416904"/>
              <a:gd name="connsiteX6" fmla="*/ 86484 w 1341572"/>
              <a:gd name="connsiteY6" fmla="*/ 2215 h 1416904"/>
              <a:gd name="connsiteX0" fmla="*/ 86484 w 1341572"/>
              <a:gd name="connsiteY0" fmla="*/ 2215 h 1383845"/>
              <a:gd name="connsiteX1" fmla="*/ 1252321 w 1341572"/>
              <a:gd name="connsiteY1" fmla="*/ 0 h 1383845"/>
              <a:gd name="connsiteX2" fmla="*/ 1249949 w 1341572"/>
              <a:gd name="connsiteY2" fmla="*/ 894920 h 1383845"/>
              <a:gd name="connsiteX3" fmla="*/ 1154863 w 1341572"/>
              <a:gd name="connsiteY3" fmla="*/ 1041119 h 1383845"/>
              <a:gd name="connsiteX4" fmla="*/ 177386 w 1341572"/>
              <a:gd name="connsiteY4" fmla="*/ 1373391 h 1383845"/>
              <a:gd name="connsiteX5" fmla="*/ 86104 w 1341572"/>
              <a:gd name="connsiteY5" fmla="*/ 1260419 h 1383845"/>
              <a:gd name="connsiteX6" fmla="*/ 86484 w 1341572"/>
              <a:gd name="connsiteY6" fmla="*/ 2215 h 1383845"/>
              <a:gd name="connsiteX0" fmla="*/ 86484 w 1341572"/>
              <a:gd name="connsiteY0" fmla="*/ 2215 h 1375531"/>
              <a:gd name="connsiteX1" fmla="*/ 1252321 w 1341572"/>
              <a:gd name="connsiteY1" fmla="*/ 0 h 1375531"/>
              <a:gd name="connsiteX2" fmla="*/ 1249949 w 1341572"/>
              <a:gd name="connsiteY2" fmla="*/ 894920 h 1375531"/>
              <a:gd name="connsiteX3" fmla="*/ 1154863 w 1341572"/>
              <a:gd name="connsiteY3" fmla="*/ 1041119 h 1375531"/>
              <a:gd name="connsiteX4" fmla="*/ 177386 w 1341572"/>
              <a:gd name="connsiteY4" fmla="*/ 1373391 h 1375531"/>
              <a:gd name="connsiteX5" fmla="*/ 86104 w 1341572"/>
              <a:gd name="connsiteY5" fmla="*/ 1260419 h 1375531"/>
              <a:gd name="connsiteX6" fmla="*/ 86484 w 1341572"/>
              <a:gd name="connsiteY6" fmla="*/ 2215 h 1375531"/>
              <a:gd name="connsiteX0" fmla="*/ 86484 w 1341572"/>
              <a:gd name="connsiteY0" fmla="*/ 2215 h 1375531"/>
              <a:gd name="connsiteX1" fmla="*/ 1252321 w 1341572"/>
              <a:gd name="connsiteY1" fmla="*/ 0 h 1375531"/>
              <a:gd name="connsiteX2" fmla="*/ 1249949 w 1341572"/>
              <a:gd name="connsiteY2" fmla="*/ 894920 h 1375531"/>
              <a:gd name="connsiteX3" fmla="*/ 1154863 w 1341572"/>
              <a:gd name="connsiteY3" fmla="*/ 1041119 h 1375531"/>
              <a:gd name="connsiteX4" fmla="*/ 177386 w 1341572"/>
              <a:gd name="connsiteY4" fmla="*/ 1373391 h 1375531"/>
              <a:gd name="connsiteX5" fmla="*/ 86104 w 1341572"/>
              <a:gd name="connsiteY5" fmla="*/ 1260419 h 1375531"/>
              <a:gd name="connsiteX6" fmla="*/ 86484 w 1341572"/>
              <a:gd name="connsiteY6" fmla="*/ 2215 h 1375531"/>
              <a:gd name="connsiteX0" fmla="*/ 380 w 1255468"/>
              <a:gd name="connsiteY0" fmla="*/ 2215 h 1375531"/>
              <a:gd name="connsiteX1" fmla="*/ 1166217 w 1255468"/>
              <a:gd name="connsiteY1" fmla="*/ 0 h 1375531"/>
              <a:gd name="connsiteX2" fmla="*/ 1163845 w 1255468"/>
              <a:gd name="connsiteY2" fmla="*/ 894920 h 1375531"/>
              <a:gd name="connsiteX3" fmla="*/ 1068759 w 1255468"/>
              <a:gd name="connsiteY3" fmla="*/ 1041119 h 1375531"/>
              <a:gd name="connsiteX4" fmla="*/ 91282 w 1255468"/>
              <a:gd name="connsiteY4" fmla="*/ 1373391 h 1375531"/>
              <a:gd name="connsiteX5" fmla="*/ 0 w 1255468"/>
              <a:gd name="connsiteY5" fmla="*/ 1260419 h 1375531"/>
              <a:gd name="connsiteX6" fmla="*/ 380 w 1255468"/>
              <a:gd name="connsiteY6" fmla="*/ 2215 h 1375531"/>
              <a:gd name="connsiteX0" fmla="*/ 380 w 1177259"/>
              <a:gd name="connsiteY0" fmla="*/ 2215 h 1375531"/>
              <a:gd name="connsiteX1" fmla="*/ 1166217 w 1177259"/>
              <a:gd name="connsiteY1" fmla="*/ 0 h 1375531"/>
              <a:gd name="connsiteX2" fmla="*/ 1163845 w 1177259"/>
              <a:gd name="connsiteY2" fmla="*/ 894920 h 1375531"/>
              <a:gd name="connsiteX3" fmla="*/ 1068759 w 1177259"/>
              <a:gd name="connsiteY3" fmla="*/ 1041119 h 1375531"/>
              <a:gd name="connsiteX4" fmla="*/ 91282 w 1177259"/>
              <a:gd name="connsiteY4" fmla="*/ 1373391 h 1375531"/>
              <a:gd name="connsiteX5" fmla="*/ 0 w 1177259"/>
              <a:gd name="connsiteY5" fmla="*/ 1260419 h 1375531"/>
              <a:gd name="connsiteX6" fmla="*/ 380 w 1177259"/>
              <a:gd name="connsiteY6" fmla="*/ 2215 h 1375531"/>
              <a:gd name="connsiteX0" fmla="*/ 380 w 1190511"/>
              <a:gd name="connsiteY0" fmla="*/ 2215 h 1375531"/>
              <a:gd name="connsiteX1" fmla="*/ 1166217 w 1190511"/>
              <a:gd name="connsiteY1" fmla="*/ 0 h 1375531"/>
              <a:gd name="connsiteX2" fmla="*/ 1163845 w 1190511"/>
              <a:gd name="connsiteY2" fmla="*/ 894920 h 1375531"/>
              <a:gd name="connsiteX3" fmla="*/ 1068759 w 1190511"/>
              <a:gd name="connsiteY3" fmla="*/ 1041119 h 1375531"/>
              <a:gd name="connsiteX4" fmla="*/ 91282 w 1190511"/>
              <a:gd name="connsiteY4" fmla="*/ 1373391 h 1375531"/>
              <a:gd name="connsiteX5" fmla="*/ 0 w 1190511"/>
              <a:gd name="connsiteY5" fmla="*/ 1260419 h 1375531"/>
              <a:gd name="connsiteX6" fmla="*/ 380 w 1190511"/>
              <a:gd name="connsiteY6" fmla="*/ 2215 h 1375531"/>
              <a:gd name="connsiteX0" fmla="*/ 380 w 1246984"/>
              <a:gd name="connsiteY0" fmla="*/ 2215 h 1375531"/>
              <a:gd name="connsiteX1" fmla="*/ 1166217 w 1246984"/>
              <a:gd name="connsiteY1" fmla="*/ 0 h 1375531"/>
              <a:gd name="connsiteX2" fmla="*/ 1163845 w 1246984"/>
              <a:gd name="connsiteY2" fmla="*/ 894920 h 1375531"/>
              <a:gd name="connsiteX3" fmla="*/ 1068759 w 1246984"/>
              <a:gd name="connsiteY3" fmla="*/ 1041119 h 1375531"/>
              <a:gd name="connsiteX4" fmla="*/ 91282 w 1246984"/>
              <a:gd name="connsiteY4" fmla="*/ 1373391 h 1375531"/>
              <a:gd name="connsiteX5" fmla="*/ 0 w 1246984"/>
              <a:gd name="connsiteY5" fmla="*/ 1260419 h 1375531"/>
              <a:gd name="connsiteX6" fmla="*/ 380 w 1246984"/>
              <a:gd name="connsiteY6" fmla="*/ 2215 h 1375531"/>
              <a:gd name="connsiteX0" fmla="*/ 380 w 1190511"/>
              <a:gd name="connsiteY0" fmla="*/ 2215 h 1375531"/>
              <a:gd name="connsiteX1" fmla="*/ 1166217 w 1190511"/>
              <a:gd name="connsiteY1" fmla="*/ 0 h 1375531"/>
              <a:gd name="connsiteX2" fmla="*/ 1163845 w 1190511"/>
              <a:gd name="connsiteY2" fmla="*/ 894920 h 1375531"/>
              <a:gd name="connsiteX3" fmla="*/ 1068759 w 1190511"/>
              <a:gd name="connsiteY3" fmla="*/ 1041119 h 1375531"/>
              <a:gd name="connsiteX4" fmla="*/ 91282 w 1190511"/>
              <a:gd name="connsiteY4" fmla="*/ 1373391 h 1375531"/>
              <a:gd name="connsiteX5" fmla="*/ 0 w 1190511"/>
              <a:gd name="connsiteY5" fmla="*/ 1260419 h 1375531"/>
              <a:gd name="connsiteX6" fmla="*/ 380 w 1190511"/>
              <a:gd name="connsiteY6" fmla="*/ 2215 h 1375531"/>
              <a:gd name="connsiteX0" fmla="*/ 380 w 1183009"/>
              <a:gd name="connsiteY0" fmla="*/ 2215 h 1375531"/>
              <a:gd name="connsiteX1" fmla="*/ 1166217 w 1183009"/>
              <a:gd name="connsiteY1" fmla="*/ 0 h 1375531"/>
              <a:gd name="connsiteX2" fmla="*/ 1163845 w 1183009"/>
              <a:gd name="connsiteY2" fmla="*/ 894920 h 1375531"/>
              <a:gd name="connsiteX3" fmla="*/ 1068759 w 1183009"/>
              <a:gd name="connsiteY3" fmla="*/ 1041119 h 1375531"/>
              <a:gd name="connsiteX4" fmla="*/ 91282 w 1183009"/>
              <a:gd name="connsiteY4" fmla="*/ 1373391 h 1375531"/>
              <a:gd name="connsiteX5" fmla="*/ 0 w 1183009"/>
              <a:gd name="connsiteY5" fmla="*/ 1260419 h 1375531"/>
              <a:gd name="connsiteX6" fmla="*/ 380 w 1183009"/>
              <a:gd name="connsiteY6" fmla="*/ 2215 h 1375531"/>
              <a:gd name="connsiteX0" fmla="*/ 380 w 1166217"/>
              <a:gd name="connsiteY0" fmla="*/ 2215 h 1375531"/>
              <a:gd name="connsiteX1" fmla="*/ 1166217 w 1166217"/>
              <a:gd name="connsiteY1" fmla="*/ 0 h 1375531"/>
              <a:gd name="connsiteX2" fmla="*/ 1163845 w 1166217"/>
              <a:gd name="connsiteY2" fmla="*/ 894920 h 1375531"/>
              <a:gd name="connsiteX3" fmla="*/ 1068759 w 1166217"/>
              <a:gd name="connsiteY3" fmla="*/ 1041119 h 1375531"/>
              <a:gd name="connsiteX4" fmla="*/ 91282 w 1166217"/>
              <a:gd name="connsiteY4" fmla="*/ 1373391 h 1375531"/>
              <a:gd name="connsiteX5" fmla="*/ 0 w 1166217"/>
              <a:gd name="connsiteY5" fmla="*/ 1260419 h 1375531"/>
              <a:gd name="connsiteX6" fmla="*/ 380 w 1166217"/>
              <a:gd name="connsiteY6" fmla="*/ 2215 h 1375531"/>
              <a:gd name="connsiteX0" fmla="*/ 6420 w 1172257"/>
              <a:gd name="connsiteY0" fmla="*/ 2215 h 1399780"/>
              <a:gd name="connsiteX1" fmla="*/ 1172257 w 1172257"/>
              <a:gd name="connsiteY1" fmla="*/ 0 h 1399780"/>
              <a:gd name="connsiteX2" fmla="*/ 1169885 w 1172257"/>
              <a:gd name="connsiteY2" fmla="*/ 894920 h 1399780"/>
              <a:gd name="connsiteX3" fmla="*/ 1074799 w 1172257"/>
              <a:gd name="connsiteY3" fmla="*/ 1041119 h 1399780"/>
              <a:gd name="connsiteX4" fmla="*/ 93519 w 1172257"/>
              <a:gd name="connsiteY4" fmla="*/ 1360100 h 1399780"/>
              <a:gd name="connsiteX5" fmla="*/ 6040 w 1172257"/>
              <a:gd name="connsiteY5" fmla="*/ 1260419 h 1399780"/>
              <a:gd name="connsiteX6" fmla="*/ 6420 w 1172257"/>
              <a:gd name="connsiteY6" fmla="*/ 2215 h 1399780"/>
              <a:gd name="connsiteX0" fmla="*/ 6420 w 1172257"/>
              <a:gd name="connsiteY0" fmla="*/ 2215 h 1400114"/>
              <a:gd name="connsiteX1" fmla="*/ 1172257 w 1172257"/>
              <a:gd name="connsiteY1" fmla="*/ 0 h 1400114"/>
              <a:gd name="connsiteX2" fmla="*/ 1169885 w 1172257"/>
              <a:gd name="connsiteY2" fmla="*/ 894920 h 1400114"/>
              <a:gd name="connsiteX3" fmla="*/ 1074799 w 1172257"/>
              <a:gd name="connsiteY3" fmla="*/ 1041119 h 1400114"/>
              <a:gd name="connsiteX4" fmla="*/ 93519 w 1172257"/>
              <a:gd name="connsiteY4" fmla="*/ 1360100 h 1400114"/>
              <a:gd name="connsiteX5" fmla="*/ 6040 w 1172257"/>
              <a:gd name="connsiteY5" fmla="*/ 1260419 h 1400114"/>
              <a:gd name="connsiteX6" fmla="*/ 6420 w 1172257"/>
              <a:gd name="connsiteY6" fmla="*/ 2215 h 1400114"/>
              <a:gd name="connsiteX0" fmla="*/ 666 w 1166503"/>
              <a:gd name="connsiteY0" fmla="*/ 2215 h 1363444"/>
              <a:gd name="connsiteX1" fmla="*/ 1166503 w 1166503"/>
              <a:gd name="connsiteY1" fmla="*/ 0 h 1363444"/>
              <a:gd name="connsiteX2" fmla="*/ 1164131 w 1166503"/>
              <a:gd name="connsiteY2" fmla="*/ 894920 h 1363444"/>
              <a:gd name="connsiteX3" fmla="*/ 1069045 w 1166503"/>
              <a:gd name="connsiteY3" fmla="*/ 1041119 h 1363444"/>
              <a:gd name="connsiteX4" fmla="*/ 87765 w 1166503"/>
              <a:gd name="connsiteY4" fmla="*/ 1360100 h 1363444"/>
              <a:gd name="connsiteX5" fmla="*/ 286 w 1166503"/>
              <a:gd name="connsiteY5" fmla="*/ 1260419 h 1363444"/>
              <a:gd name="connsiteX6" fmla="*/ 666 w 1166503"/>
              <a:gd name="connsiteY6" fmla="*/ 2215 h 1363444"/>
              <a:gd name="connsiteX0" fmla="*/ 666 w 1168481"/>
              <a:gd name="connsiteY0" fmla="*/ 6645 h 1367874"/>
              <a:gd name="connsiteX1" fmla="*/ 1156995 w 1168481"/>
              <a:gd name="connsiteY1" fmla="*/ 0 h 1367874"/>
              <a:gd name="connsiteX2" fmla="*/ 1164131 w 1168481"/>
              <a:gd name="connsiteY2" fmla="*/ 899350 h 1367874"/>
              <a:gd name="connsiteX3" fmla="*/ 1069045 w 1168481"/>
              <a:gd name="connsiteY3" fmla="*/ 1045549 h 1367874"/>
              <a:gd name="connsiteX4" fmla="*/ 87765 w 1168481"/>
              <a:gd name="connsiteY4" fmla="*/ 1364530 h 1367874"/>
              <a:gd name="connsiteX5" fmla="*/ 286 w 1168481"/>
              <a:gd name="connsiteY5" fmla="*/ 1264849 h 1367874"/>
              <a:gd name="connsiteX6" fmla="*/ 666 w 1168481"/>
              <a:gd name="connsiteY6" fmla="*/ 6645 h 1367874"/>
              <a:gd name="connsiteX0" fmla="*/ 666 w 1169473"/>
              <a:gd name="connsiteY0" fmla="*/ 6645 h 1367874"/>
              <a:gd name="connsiteX1" fmla="*/ 1156995 w 1169473"/>
              <a:gd name="connsiteY1" fmla="*/ 0 h 1367874"/>
              <a:gd name="connsiteX2" fmla="*/ 1164131 w 1169473"/>
              <a:gd name="connsiteY2" fmla="*/ 899350 h 1367874"/>
              <a:gd name="connsiteX3" fmla="*/ 1069045 w 1169473"/>
              <a:gd name="connsiteY3" fmla="*/ 1045549 h 1367874"/>
              <a:gd name="connsiteX4" fmla="*/ 87765 w 1169473"/>
              <a:gd name="connsiteY4" fmla="*/ 1364530 h 1367874"/>
              <a:gd name="connsiteX5" fmla="*/ 286 w 1169473"/>
              <a:gd name="connsiteY5" fmla="*/ 1264849 h 1367874"/>
              <a:gd name="connsiteX6" fmla="*/ 666 w 1169473"/>
              <a:gd name="connsiteY6" fmla="*/ 6645 h 1367874"/>
              <a:gd name="connsiteX0" fmla="*/ 666 w 1162319"/>
              <a:gd name="connsiteY0" fmla="*/ 6645 h 1367874"/>
              <a:gd name="connsiteX1" fmla="*/ 1156995 w 1162319"/>
              <a:gd name="connsiteY1" fmla="*/ 0 h 1367874"/>
              <a:gd name="connsiteX2" fmla="*/ 1154622 w 1162319"/>
              <a:gd name="connsiteY2" fmla="*/ 886059 h 1367874"/>
              <a:gd name="connsiteX3" fmla="*/ 1069045 w 1162319"/>
              <a:gd name="connsiteY3" fmla="*/ 1045549 h 1367874"/>
              <a:gd name="connsiteX4" fmla="*/ 87765 w 1162319"/>
              <a:gd name="connsiteY4" fmla="*/ 1364530 h 1367874"/>
              <a:gd name="connsiteX5" fmla="*/ 286 w 1162319"/>
              <a:gd name="connsiteY5" fmla="*/ 1264849 h 1367874"/>
              <a:gd name="connsiteX6" fmla="*/ 666 w 1162319"/>
              <a:gd name="connsiteY6" fmla="*/ 6645 h 1367874"/>
              <a:gd name="connsiteX0" fmla="*/ 666 w 1157419"/>
              <a:gd name="connsiteY0" fmla="*/ 6645 h 1367874"/>
              <a:gd name="connsiteX1" fmla="*/ 1156995 w 1157419"/>
              <a:gd name="connsiteY1" fmla="*/ 0 h 1367874"/>
              <a:gd name="connsiteX2" fmla="*/ 1154622 w 1157419"/>
              <a:gd name="connsiteY2" fmla="*/ 886059 h 1367874"/>
              <a:gd name="connsiteX3" fmla="*/ 1069045 w 1157419"/>
              <a:gd name="connsiteY3" fmla="*/ 1045549 h 1367874"/>
              <a:gd name="connsiteX4" fmla="*/ 87765 w 1157419"/>
              <a:gd name="connsiteY4" fmla="*/ 1364530 h 1367874"/>
              <a:gd name="connsiteX5" fmla="*/ 286 w 1157419"/>
              <a:gd name="connsiteY5" fmla="*/ 1264849 h 1367874"/>
              <a:gd name="connsiteX6" fmla="*/ 666 w 1157419"/>
              <a:gd name="connsiteY6" fmla="*/ 6645 h 1367874"/>
              <a:gd name="connsiteX0" fmla="*/ 666 w 1157396"/>
              <a:gd name="connsiteY0" fmla="*/ 6645 h 1367874"/>
              <a:gd name="connsiteX1" fmla="*/ 1156995 w 1157396"/>
              <a:gd name="connsiteY1" fmla="*/ 0 h 1367874"/>
              <a:gd name="connsiteX2" fmla="*/ 1154622 w 1157396"/>
              <a:gd name="connsiteY2" fmla="*/ 886059 h 1367874"/>
              <a:gd name="connsiteX3" fmla="*/ 1069045 w 1157396"/>
              <a:gd name="connsiteY3" fmla="*/ 1045549 h 1367874"/>
              <a:gd name="connsiteX4" fmla="*/ 87765 w 1157396"/>
              <a:gd name="connsiteY4" fmla="*/ 1364530 h 1367874"/>
              <a:gd name="connsiteX5" fmla="*/ 286 w 1157396"/>
              <a:gd name="connsiteY5" fmla="*/ 1264849 h 1367874"/>
              <a:gd name="connsiteX6" fmla="*/ 666 w 1157396"/>
              <a:gd name="connsiteY6" fmla="*/ 6645 h 1367874"/>
              <a:gd name="connsiteX0" fmla="*/ 666 w 1154651"/>
              <a:gd name="connsiteY0" fmla="*/ 6645 h 1367874"/>
              <a:gd name="connsiteX1" fmla="*/ 726871 w 1154651"/>
              <a:gd name="connsiteY1" fmla="*/ 0 h 1367874"/>
              <a:gd name="connsiteX2" fmla="*/ 1154622 w 1154651"/>
              <a:gd name="connsiteY2" fmla="*/ 886059 h 1367874"/>
              <a:gd name="connsiteX3" fmla="*/ 1069045 w 1154651"/>
              <a:gd name="connsiteY3" fmla="*/ 1045549 h 1367874"/>
              <a:gd name="connsiteX4" fmla="*/ 87765 w 1154651"/>
              <a:gd name="connsiteY4" fmla="*/ 1364530 h 1367874"/>
              <a:gd name="connsiteX5" fmla="*/ 286 w 1154651"/>
              <a:gd name="connsiteY5" fmla="*/ 1264849 h 1367874"/>
              <a:gd name="connsiteX6" fmla="*/ 666 w 1154651"/>
              <a:gd name="connsiteY6" fmla="*/ 6645 h 1367874"/>
              <a:gd name="connsiteX0" fmla="*/ 666 w 1087791"/>
              <a:gd name="connsiteY0" fmla="*/ 6645 h 1367874"/>
              <a:gd name="connsiteX1" fmla="*/ 726871 w 1087791"/>
              <a:gd name="connsiteY1" fmla="*/ 0 h 1367874"/>
              <a:gd name="connsiteX2" fmla="*/ 757197 w 1087791"/>
              <a:gd name="connsiteY2" fmla="*/ 906568 h 1367874"/>
              <a:gd name="connsiteX3" fmla="*/ 1069045 w 1087791"/>
              <a:gd name="connsiteY3" fmla="*/ 1045549 h 1367874"/>
              <a:gd name="connsiteX4" fmla="*/ 87765 w 1087791"/>
              <a:gd name="connsiteY4" fmla="*/ 1364530 h 1367874"/>
              <a:gd name="connsiteX5" fmla="*/ 286 w 1087791"/>
              <a:gd name="connsiteY5" fmla="*/ 1264849 h 1367874"/>
              <a:gd name="connsiteX6" fmla="*/ 666 w 1087791"/>
              <a:gd name="connsiteY6" fmla="*/ 6645 h 1367874"/>
              <a:gd name="connsiteX0" fmla="*/ 666 w 1085800"/>
              <a:gd name="connsiteY0" fmla="*/ 6645 h 1367874"/>
              <a:gd name="connsiteX1" fmla="*/ 726871 w 1085800"/>
              <a:gd name="connsiteY1" fmla="*/ 0 h 1367874"/>
              <a:gd name="connsiteX2" fmla="*/ 732043 w 1085800"/>
              <a:gd name="connsiteY2" fmla="*/ 903638 h 1367874"/>
              <a:gd name="connsiteX3" fmla="*/ 1069045 w 1085800"/>
              <a:gd name="connsiteY3" fmla="*/ 1045549 h 1367874"/>
              <a:gd name="connsiteX4" fmla="*/ 87765 w 1085800"/>
              <a:gd name="connsiteY4" fmla="*/ 1364530 h 1367874"/>
              <a:gd name="connsiteX5" fmla="*/ 286 w 1085800"/>
              <a:gd name="connsiteY5" fmla="*/ 1264849 h 1367874"/>
              <a:gd name="connsiteX6" fmla="*/ 666 w 1085800"/>
              <a:gd name="connsiteY6" fmla="*/ 6645 h 1367874"/>
              <a:gd name="connsiteX0" fmla="*/ 666 w 733624"/>
              <a:gd name="connsiteY0" fmla="*/ 6645 h 1367874"/>
              <a:gd name="connsiteX1" fmla="*/ 726871 w 733624"/>
              <a:gd name="connsiteY1" fmla="*/ 0 h 1367874"/>
              <a:gd name="connsiteX2" fmla="*/ 732043 w 733624"/>
              <a:gd name="connsiteY2" fmla="*/ 903638 h 1367874"/>
              <a:gd name="connsiteX3" fmla="*/ 643952 w 733624"/>
              <a:gd name="connsiteY3" fmla="*/ 1192041 h 1367874"/>
              <a:gd name="connsiteX4" fmla="*/ 87765 w 733624"/>
              <a:gd name="connsiteY4" fmla="*/ 1364530 h 1367874"/>
              <a:gd name="connsiteX5" fmla="*/ 286 w 733624"/>
              <a:gd name="connsiteY5" fmla="*/ 1264849 h 1367874"/>
              <a:gd name="connsiteX6" fmla="*/ 666 w 733624"/>
              <a:gd name="connsiteY6" fmla="*/ 6645 h 1367874"/>
              <a:gd name="connsiteX0" fmla="*/ 666 w 733624"/>
              <a:gd name="connsiteY0" fmla="*/ 6645 h 1367874"/>
              <a:gd name="connsiteX1" fmla="*/ 726871 w 733624"/>
              <a:gd name="connsiteY1" fmla="*/ 0 h 1367874"/>
              <a:gd name="connsiteX2" fmla="*/ 732043 w 733624"/>
              <a:gd name="connsiteY2" fmla="*/ 976884 h 1367874"/>
              <a:gd name="connsiteX3" fmla="*/ 643952 w 733624"/>
              <a:gd name="connsiteY3" fmla="*/ 1192041 h 1367874"/>
              <a:gd name="connsiteX4" fmla="*/ 87765 w 733624"/>
              <a:gd name="connsiteY4" fmla="*/ 1364530 h 1367874"/>
              <a:gd name="connsiteX5" fmla="*/ 286 w 733624"/>
              <a:gd name="connsiteY5" fmla="*/ 1264849 h 1367874"/>
              <a:gd name="connsiteX6" fmla="*/ 666 w 733624"/>
              <a:gd name="connsiteY6" fmla="*/ 6645 h 1367874"/>
              <a:gd name="connsiteX0" fmla="*/ 666 w 732674"/>
              <a:gd name="connsiteY0" fmla="*/ 6645 h 1367874"/>
              <a:gd name="connsiteX1" fmla="*/ 726871 w 732674"/>
              <a:gd name="connsiteY1" fmla="*/ 0 h 1367874"/>
              <a:gd name="connsiteX2" fmla="*/ 732043 w 732674"/>
              <a:gd name="connsiteY2" fmla="*/ 976884 h 1367874"/>
              <a:gd name="connsiteX3" fmla="*/ 643952 w 732674"/>
              <a:gd name="connsiteY3" fmla="*/ 1192041 h 1367874"/>
              <a:gd name="connsiteX4" fmla="*/ 87765 w 732674"/>
              <a:gd name="connsiteY4" fmla="*/ 1364530 h 1367874"/>
              <a:gd name="connsiteX5" fmla="*/ 286 w 732674"/>
              <a:gd name="connsiteY5" fmla="*/ 1264849 h 1367874"/>
              <a:gd name="connsiteX6" fmla="*/ 666 w 732674"/>
              <a:gd name="connsiteY6" fmla="*/ 6645 h 1367874"/>
              <a:gd name="connsiteX0" fmla="*/ 666 w 732674"/>
              <a:gd name="connsiteY0" fmla="*/ 0 h 1361229"/>
              <a:gd name="connsiteX1" fmla="*/ 731902 w 732674"/>
              <a:gd name="connsiteY1" fmla="*/ 8004 h 1361229"/>
              <a:gd name="connsiteX2" fmla="*/ 732043 w 732674"/>
              <a:gd name="connsiteY2" fmla="*/ 970239 h 1361229"/>
              <a:gd name="connsiteX3" fmla="*/ 643952 w 732674"/>
              <a:gd name="connsiteY3" fmla="*/ 1185396 h 1361229"/>
              <a:gd name="connsiteX4" fmla="*/ 87765 w 732674"/>
              <a:gd name="connsiteY4" fmla="*/ 1357885 h 1361229"/>
              <a:gd name="connsiteX5" fmla="*/ 286 w 732674"/>
              <a:gd name="connsiteY5" fmla="*/ 1258204 h 1361229"/>
              <a:gd name="connsiteX6" fmla="*/ 666 w 732674"/>
              <a:gd name="connsiteY6" fmla="*/ 0 h 1361229"/>
              <a:gd name="connsiteX0" fmla="*/ 666 w 732674"/>
              <a:gd name="connsiteY0" fmla="*/ 3715 h 1364944"/>
              <a:gd name="connsiteX1" fmla="*/ 729386 w 732674"/>
              <a:gd name="connsiteY1" fmla="*/ 0 h 1364944"/>
              <a:gd name="connsiteX2" fmla="*/ 732043 w 732674"/>
              <a:gd name="connsiteY2" fmla="*/ 973954 h 1364944"/>
              <a:gd name="connsiteX3" fmla="*/ 643952 w 732674"/>
              <a:gd name="connsiteY3" fmla="*/ 1189111 h 1364944"/>
              <a:gd name="connsiteX4" fmla="*/ 87765 w 732674"/>
              <a:gd name="connsiteY4" fmla="*/ 1361600 h 1364944"/>
              <a:gd name="connsiteX5" fmla="*/ 286 w 732674"/>
              <a:gd name="connsiteY5" fmla="*/ 1261919 h 1364944"/>
              <a:gd name="connsiteX6" fmla="*/ 666 w 732674"/>
              <a:gd name="connsiteY6" fmla="*/ 3715 h 1364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2674" h="1364944">
                <a:moveTo>
                  <a:pt x="666" y="3715"/>
                </a:moveTo>
                <a:lnTo>
                  <a:pt x="729386" y="0"/>
                </a:lnTo>
                <a:cubicBezTo>
                  <a:pt x="731225" y="268401"/>
                  <a:pt x="731128" y="795267"/>
                  <a:pt x="732043" y="973954"/>
                </a:cubicBezTo>
                <a:cubicBezTo>
                  <a:pt x="732587" y="1080157"/>
                  <a:pt x="743786" y="1153802"/>
                  <a:pt x="643952" y="1189111"/>
                </a:cubicBezTo>
                <a:cubicBezTo>
                  <a:pt x="525805" y="1230897"/>
                  <a:pt x="403734" y="1272869"/>
                  <a:pt x="87765" y="1361600"/>
                </a:cubicBezTo>
                <a:cubicBezTo>
                  <a:pt x="41105" y="1374703"/>
                  <a:pt x="1490" y="1350894"/>
                  <a:pt x="286" y="1261919"/>
                </a:cubicBezTo>
                <a:cubicBezTo>
                  <a:pt x="-918" y="1172944"/>
                  <a:pt x="2173" y="275809"/>
                  <a:pt x="666" y="371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lIns="251953" tIns="233957" rIns="215960" bIns="93583">
            <a:noAutofit/>
          </a:bodyPr>
          <a:lstStyle>
            <a:lvl1pPr marL="0" indent="0">
              <a:spcBef>
                <a:spcPts val="1800"/>
              </a:spcBef>
              <a:buFontTx/>
              <a:buNone/>
              <a:defRPr b="0" i="0">
                <a:solidFill>
                  <a:schemeClr val="bg1"/>
                </a:solidFill>
                <a:latin typeface="Univers 45 Light"/>
                <a:cs typeface="Univers 45 Light"/>
              </a:defRPr>
            </a:lvl1pPr>
            <a:lvl2pPr marL="457116" indent="0">
              <a:buFontTx/>
              <a:buNone/>
              <a:defRPr/>
            </a:lvl2pPr>
            <a:lvl3pPr marL="914231" indent="0">
              <a:buFontTx/>
              <a:buNone/>
              <a:defRPr/>
            </a:lvl3pPr>
            <a:lvl4pPr marL="1263417" indent="0">
              <a:buFontTx/>
              <a:buNone/>
              <a:defRPr/>
            </a:lvl4pPr>
            <a:lvl5pPr marL="1599906" indent="0">
              <a:buFontTx/>
              <a:buNone/>
              <a:defRPr/>
            </a:lvl5pPr>
          </a:lstStyle>
          <a:p>
            <a:pPr lvl="0"/>
            <a:r>
              <a:rPr lang="es-ES_tradnl" dirty="0"/>
              <a:t>Escriba el texto</a:t>
            </a:r>
            <a:endParaRPr lang="es-ES" dirty="0"/>
          </a:p>
        </p:txBody>
      </p:sp>
      <p:sp>
        <p:nvSpPr>
          <p:cNvPr id="13" name="Marcador de texto 4"/>
          <p:cNvSpPr>
            <a:spLocks noGrp="1"/>
          </p:cNvSpPr>
          <p:nvPr>
            <p:ph type="body" sz="quarter" idx="17" hasCustomPrompt="1"/>
          </p:nvPr>
        </p:nvSpPr>
        <p:spPr>
          <a:xfrm>
            <a:off x="1636713" y="425606"/>
            <a:ext cx="3033248" cy="1857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00" b="0" i="0" kern="300" spc="50" baseline="0">
                <a:solidFill>
                  <a:schemeClr val="tx2"/>
                </a:solidFill>
                <a:latin typeface="Univers 75 Black"/>
                <a:cs typeface="Univers 75 Black"/>
              </a:defRPr>
            </a:lvl1pPr>
            <a:lvl2pPr marL="0" indent="0">
              <a:spcBef>
                <a:spcPts val="400"/>
              </a:spcBef>
              <a:buFontTx/>
              <a:buNone/>
              <a:defRPr sz="900" kern="500" spc="50">
                <a:solidFill>
                  <a:schemeClr val="tx2"/>
                </a:solidFill>
              </a:defRPr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s-ES_tradnl" dirty="0"/>
              <a:t>NIVEL 1</a:t>
            </a:r>
            <a:endParaRPr lang="es-ES" dirty="0"/>
          </a:p>
        </p:txBody>
      </p:sp>
      <p:sp>
        <p:nvSpPr>
          <p:cNvPr id="16" name="Marcador de texto 4"/>
          <p:cNvSpPr>
            <a:spLocks noGrp="1"/>
          </p:cNvSpPr>
          <p:nvPr>
            <p:ph type="body" sz="quarter" idx="19" hasCustomPrompt="1"/>
          </p:nvPr>
        </p:nvSpPr>
        <p:spPr>
          <a:xfrm>
            <a:off x="1290469" y="195977"/>
            <a:ext cx="346244" cy="4130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FontTx/>
              <a:buNone/>
              <a:defRPr sz="2800" b="0" i="0" kern="300" spc="50" baseline="0">
                <a:solidFill>
                  <a:schemeClr val="tx2"/>
                </a:solidFill>
                <a:latin typeface="Univers 57 Condensed"/>
                <a:cs typeface="Univers 57 Condensed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900" kern="500" spc="50">
                <a:solidFill>
                  <a:schemeClr val="tx2"/>
                </a:solidFill>
              </a:defRPr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s-ES_tradnl" dirty="0"/>
              <a:t>N</a:t>
            </a:r>
            <a:endParaRPr lang="es-ES" dirty="0"/>
          </a:p>
        </p:txBody>
      </p:sp>
      <p:sp>
        <p:nvSpPr>
          <p:cNvPr id="22" name="Marcador de texto 10"/>
          <p:cNvSpPr>
            <a:spLocks noGrp="1"/>
          </p:cNvSpPr>
          <p:nvPr>
            <p:ph type="body" sz="quarter" idx="22" hasCustomPrompt="1"/>
          </p:nvPr>
        </p:nvSpPr>
        <p:spPr>
          <a:xfrm>
            <a:off x="1636713" y="603741"/>
            <a:ext cx="3033248" cy="1770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_tradnl" dirty="0"/>
              <a:t>NIVEL 2</a:t>
            </a:r>
            <a:endParaRPr lang="es-ES" dirty="0"/>
          </a:p>
        </p:txBody>
      </p:sp>
      <p:sp>
        <p:nvSpPr>
          <p:cNvPr id="23" name="Marcador de texto 10"/>
          <p:cNvSpPr>
            <a:spLocks noGrp="1"/>
          </p:cNvSpPr>
          <p:nvPr>
            <p:ph type="body" sz="quarter" idx="23" hasCustomPrompt="1"/>
          </p:nvPr>
        </p:nvSpPr>
        <p:spPr>
          <a:xfrm>
            <a:off x="1290469" y="603741"/>
            <a:ext cx="346244" cy="1770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_tradnl" dirty="0"/>
              <a:t>N</a:t>
            </a:r>
            <a:endParaRPr lang="es-ES" dirty="0"/>
          </a:p>
        </p:txBody>
      </p: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36297" y="188640"/>
            <a:ext cx="1691233" cy="572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197038709"/>
      </p:ext>
    </p:extLst>
  </p:cSld>
  <p:clrMapOvr>
    <a:masterClrMapping/>
  </p:clrMapOvr>
  <p:transition spd="slow">
    <p:circl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yecto 2b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posición de imagen 2"/>
          <p:cNvSpPr>
            <a:spLocks noGrp="1"/>
          </p:cNvSpPr>
          <p:nvPr>
            <p:ph type="pic" sz="quarter" idx="12"/>
          </p:nvPr>
        </p:nvSpPr>
        <p:spPr>
          <a:xfrm>
            <a:off x="-32732" y="1418281"/>
            <a:ext cx="9242422" cy="5490997"/>
          </a:xfrm>
          <a:custGeom>
            <a:avLst/>
            <a:gdLst>
              <a:gd name="connsiteX0" fmla="*/ 0 w 1295400"/>
              <a:gd name="connsiteY0" fmla="*/ 0 h 1295400"/>
              <a:gd name="connsiteX1" fmla="*/ 1295400 w 1295400"/>
              <a:gd name="connsiteY1" fmla="*/ 0 h 1295400"/>
              <a:gd name="connsiteX2" fmla="*/ 1295400 w 1295400"/>
              <a:gd name="connsiteY2" fmla="*/ 1295400 h 1295400"/>
              <a:gd name="connsiteX3" fmla="*/ 0 w 1295400"/>
              <a:gd name="connsiteY3" fmla="*/ 1295400 h 1295400"/>
              <a:gd name="connsiteX4" fmla="*/ 0 w 1295400"/>
              <a:gd name="connsiteY4" fmla="*/ 0 h 1295400"/>
              <a:gd name="connsiteX0" fmla="*/ 0 w 1295400"/>
              <a:gd name="connsiteY0" fmla="*/ 381000 h 1295400"/>
              <a:gd name="connsiteX1" fmla="*/ 1295400 w 1295400"/>
              <a:gd name="connsiteY1" fmla="*/ 0 h 1295400"/>
              <a:gd name="connsiteX2" fmla="*/ 1295400 w 1295400"/>
              <a:gd name="connsiteY2" fmla="*/ 1295400 h 1295400"/>
              <a:gd name="connsiteX3" fmla="*/ 0 w 1295400"/>
              <a:gd name="connsiteY3" fmla="*/ 1295400 h 1295400"/>
              <a:gd name="connsiteX4" fmla="*/ 0 w 1295400"/>
              <a:gd name="connsiteY4" fmla="*/ 381000 h 1295400"/>
              <a:gd name="connsiteX0" fmla="*/ 2646 w 1295400"/>
              <a:gd name="connsiteY0" fmla="*/ 575389 h 1295400"/>
              <a:gd name="connsiteX1" fmla="*/ 1295400 w 1295400"/>
              <a:gd name="connsiteY1" fmla="*/ 0 h 1295400"/>
              <a:gd name="connsiteX2" fmla="*/ 1295400 w 1295400"/>
              <a:gd name="connsiteY2" fmla="*/ 1295400 h 1295400"/>
              <a:gd name="connsiteX3" fmla="*/ 0 w 1295400"/>
              <a:gd name="connsiteY3" fmla="*/ 1295400 h 1295400"/>
              <a:gd name="connsiteX4" fmla="*/ 2646 w 1295400"/>
              <a:gd name="connsiteY4" fmla="*/ 575389 h 1295400"/>
              <a:gd name="connsiteX0" fmla="*/ 0 w 1299992"/>
              <a:gd name="connsiteY0" fmla="*/ 573663 h 1295400"/>
              <a:gd name="connsiteX1" fmla="*/ 1299992 w 1299992"/>
              <a:gd name="connsiteY1" fmla="*/ 0 h 1295400"/>
              <a:gd name="connsiteX2" fmla="*/ 1299992 w 1299992"/>
              <a:gd name="connsiteY2" fmla="*/ 1295400 h 1295400"/>
              <a:gd name="connsiteX3" fmla="*/ 4592 w 1299992"/>
              <a:gd name="connsiteY3" fmla="*/ 1295400 h 1295400"/>
              <a:gd name="connsiteX4" fmla="*/ 0 w 1299992"/>
              <a:gd name="connsiteY4" fmla="*/ 573663 h 1295400"/>
              <a:gd name="connsiteX0" fmla="*/ 45 w 1300037"/>
              <a:gd name="connsiteY0" fmla="*/ 573663 h 1295400"/>
              <a:gd name="connsiteX1" fmla="*/ 1300037 w 1300037"/>
              <a:gd name="connsiteY1" fmla="*/ 0 h 1295400"/>
              <a:gd name="connsiteX2" fmla="*/ 1300037 w 1300037"/>
              <a:gd name="connsiteY2" fmla="*/ 1295400 h 1295400"/>
              <a:gd name="connsiteX3" fmla="*/ 501 w 1300037"/>
              <a:gd name="connsiteY3" fmla="*/ 1291947 h 1295400"/>
              <a:gd name="connsiteX4" fmla="*/ 45 w 1300037"/>
              <a:gd name="connsiteY4" fmla="*/ 573663 h 1295400"/>
              <a:gd name="connsiteX0" fmla="*/ 45 w 1309343"/>
              <a:gd name="connsiteY0" fmla="*/ 573663 h 1291947"/>
              <a:gd name="connsiteX1" fmla="*/ 1300037 w 1309343"/>
              <a:gd name="connsiteY1" fmla="*/ 0 h 1291947"/>
              <a:gd name="connsiteX2" fmla="*/ 1309343 w 1309343"/>
              <a:gd name="connsiteY2" fmla="*/ 1291947 h 1291947"/>
              <a:gd name="connsiteX3" fmla="*/ 501 w 1309343"/>
              <a:gd name="connsiteY3" fmla="*/ 1291947 h 1291947"/>
              <a:gd name="connsiteX4" fmla="*/ 45 w 1309343"/>
              <a:gd name="connsiteY4" fmla="*/ 573663 h 1291947"/>
              <a:gd name="connsiteX0" fmla="*/ 45 w 1309343"/>
              <a:gd name="connsiteY0" fmla="*/ 580569 h 1298853"/>
              <a:gd name="connsiteX1" fmla="*/ 1306241 w 1309343"/>
              <a:gd name="connsiteY1" fmla="*/ 0 h 1298853"/>
              <a:gd name="connsiteX2" fmla="*/ 1309343 w 1309343"/>
              <a:gd name="connsiteY2" fmla="*/ 1298853 h 1298853"/>
              <a:gd name="connsiteX3" fmla="*/ 501 w 1309343"/>
              <a:gd name="connsiteY3" fmla="*/ 1298853 h 1298853"/>
              <a:gd name="connsiteX4" fmla="*/ 45 w 1309343"/>
              <a:gd name="connsiteY4" fmla="*/ 580569 h 1298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9343" h="1298853">
                <a:moveTo>
                  <a:pt x="45" y="580569"/>
                </a:moveTo>
                <a:lnTo>
                  <a:pt x="1306241" y="0"/>
                </a:lnTo>
                <a:lnTo>
                  <a:pt x="1309343" y="1298853"/>
                </a:lnTo>
                <a:lnTo>
                  <a:pt x="501" y="1298853"/>
                </a:lnTo>
                <a:cubicBezTo>
                  <a:pt x="-1030" y="1058274"/>
                  <a:pt x="1576" y="821148"/>
                  <a:pt x="45" y="580569"/>
                </a:cubicBezTo>
                <a:close/>
              </a:path>
            </a:pathLst>
          </a:custGeom>
          <a:ln>
            <a:noFill/>
          </a:ln>
        </p:spPr>
        <p:txBody>
          <a:bodyPr vert="horz" lIns="91423" tIns="45711" rIns="91423" bIns="45711" anchor="b" anchorCtr="0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endParaRPr lang="es-ES" dirty="0"/>
          </a:p>
        </p:txBody>
      </p:sp>
      <p:sp>
        <p:nvSpPr>
          <p:cNvPr id="5" name="Marcador de texto 2"/>
          <p:cNvSpPr>
            <a:spLocks noGrp="1"/>
          </p:cNvSpPr>
          <p:nvPr>
            <p:ph type="body" sz="quarter" idx="15" hasCustomPrompt="1"/>
          </p:nvPr>
        </p:nvSpPr>
        <p:spPr>
          <a:xfrm>
            <a:off x="1636713" y="1296989"/>
            <a:ext cx="3966332" cy="7269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4800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es-ES_tradnl" dirty="0"/>
              <a:t>Título</a:t>
            </a:r>
            <a:endParaRPr lang="es-ES" dirty="0"/>
          </a:p>
        </p:txBody>
      </p:sp>
      <p:sp>
        <p:nvSpPr>
          <p:cNvPr id="6" name="Marcador de texto 4"/>
          <p:cNvSpPr>
            <a:spLocks noGrp="1"/>
          </p:cNvSpPr>
          <p:nvPr>
            <p:ph type="body" sz="quarter" idx="14" hasCustomPrompt="1"/>
          </p:nvPr>
        </p:nvSpPr>
        <p:spPr>
          <a:xfrm>
            <a:off x="1333927" y="4614355"/>
            <a:ext cx="3387516" cy="1853054"/>
          </a:xfrm>
          <a:custGeom>
            <a:avLst/>
            <a:gdLst>
              <a:gd name="connsiteX0" fmla="*/ 0 w 1152525"/>
              <a:gd name="connsiteY0" fmla="*/ 0 h 1295400"/>
              <a:gd name="connsiteX1" fmla="*/ 1152525 w 1152525"/>
              <a:gd name="connsiteY1" fmla="*/ 0 h 1295400"/>
              <a:gd name="connsiteX2" fmla="*/ 1152525 w 1152525"/>
              <a:gd name="connsiteY2" fmla="*/ 1295400 h 1295400"/>
              <a:gd name="connsiteX3" fmla="*/ 0 w 1152525"/>
              <a:gd name="connsiteY3" fmla="*/ 1295400 h 1295400"/>
              <a:gd name="connsiteX4" fmla="*/ 0 w 1152525"/>
              <a:gd name="connsiteY4" fmla="*/ 0 h 1295400"/>
              <a:gd name="connsiteX0" fmla="*/ 0 w 1165225"/>
              <a:gd name="connsiteY0" fmla="*/ 0 h 1295400"/>
              <a:gd name="connsiteX1" fmla="*/ 1152525 w 1165225"/>
              <a:gd name="connsiteY1" fmla="*/ 0 h 1295400"/>
              <a:gd name="connsiteX2" fmla="*/ 1165225 w 1165225"/>
              <a:gd name="connsiteY2" fmla="*/ 838200 h 1295400"/>
              <a:gd name="connsiteX3" fmla="*/ 0 w 1165225"/>
              <a:gd name="connsiteY3" fmla="*/ 1295400 h 1295400"/>
              <a:gd name="connsiteX4" fmla="*/ 0 w 1165225"/>
              <a:gd name="connsiteY4" fmla="*/ 0 h 1295400"/>
              <a:gd name="connsiteX0" fmla="*/ 9509 w 1174734"/>
              <a:gd name="connsiteY0" fmla="*/ 0 h 1421663"/>
              <a:gd name="connsiteX1" fmla="*/ 1162034 w 1174734"/>
              <a:gd name="connsiteY1" fmla="*/ 0 h 1421663"/>
              <a:gd name="connsiteX2" fmla="*/ 1174734 w 1174734"/>
              <a:gd name="connsiteY2" fmla="*/ 838200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4734"/>
              <a:gd name="connsiteY0" fmla="*/ 0 h 1421663"/>
              <a:gd name="connsiteX1" fmla="*/ 1162034 w 1174734"/>
              <a:gd name="connsiteY1" fmla="*/ 0 h 1421663"/>
              <a:gd name="connsiteX2" fmla="*/ 1174734 w 1174734"/>
              <a:gd name="connsiteY2" fmla="*/ 1010981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4734"/>
              <a:gd name="connsiteY0" fmla="*/ 0 h 1421663"/>
              <a:gd name="connsiteX1" fmla="*/ 1169641 w 1174734"/>
              <a:gd name="connsiteY1" fmla="*/ 0 h 1421663"/>
              <a:gd name="connsiteX2" fmla="*/ 1174734 w 1174734"/>
              <a:gd name="connsiteY2" fmla="*/ 1010981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5774"/>
              <a:gd name="connsiteY0" fmla="*/ 2215 h 1423878"/>
              <a:gd name="connsiteX1" fmla="*/ 1175346 w 1175774"/>
              <a:gd name="connsiteY1" fmla="*/ 0 h 1423878"/>
              <a:gd name="connsiteX2" fmla="*/ 1174734 w 1175774"/>
              <a:gd name="connsiteY2" fmla="*/ 1013196 h 1423878"/>
              <a:gd name="connsiteX3" fmla="*/ 0 w 1175774"/>
              <a:gd name="connsiteY3" fmla="*/ 1423878 h 1423878"/>
              <a:gd name="connsiteX4" fmla="*/ 9509 w 1175774"/>
              <a:gd name="connsiteY4" fmla="*/ 2215 h 1423878"/>
              <a:gd name="connsiteX0" fmla="*/ 5706 w 1171971"/>
              <a:gd name="connsiteY0" fmla="*/ 2215 h 1421663"/>
              <a:gd name="connsiteX1" fmla="*/ 1171543 w 1171971"/>
              <a:gd name="connsiteY1" fmla="*/ 0 h 1421663"/>
              <a:gd name="connsiteX2" fmla="*/ 1170931 w 1171971"/>
              <a:gd name="connsiteY2" fmla="*/ 1013196 h 1421663"/>
              <a:gd name="connsiteX3" fmla="*/ 0 w 1171971"/>
              <a:gd name="connsiteY3" fmla="*/ 1421663 h 1421663"/>
              <a:gd name="connsiteX4" fmla="*/ 5706 w 1171971"/>
              <a:gd name="connsiteY4" fmla="*/ 2215 h 1421663"/>
              <a:gd name="connsiteX0" fmla="*/ 916 w 1167181"/>
              <a:gd name="connsiteY0" fmla="*/ 2215 h 1417233"/>
              <a:gd name="connsiteX1" fmla="*/ 1166753 w 1167181"/>
              <a:gd name="connsiteY1" fmla="*/ 0 h 1417233"/>
              <a:gd name="connsiteX2" fmla="*/ 1166141 w 1167181"/>
              <a:gd name="connsiteY2" fmla="*/ 1013196 h 1417233"/>
              <a:gd name="connsiteX3" fmla="*/ 915 w 1167181"/>
              <a:gd name="connsiteY3" fmla="*/ 1417233 h 1417233"/>
              <a:gd name="connsiteX4" fmla="*/ 916 w 1167181"/>
              <a:gd name="connsiteY4" fmla="*/ 2215 h 1417233"/>
              <a:gd name="connsiteX0" fmla="*/ 916 w 1167181"/>
              <a:gd name="connsiteY0" fmla="*/ 2215 h 1403942"/>
              <a:gd name="connsiteX1" fmla="*/ 1166753 w 1167181"/>
              <a:gd name="connsiteY1" fmla="*/ 0 h 1403942"/>
              <a:gd name="connsiteX2" fmla="*/ 1166141 w 1167181"/>
              <a:gd name="connsiteY2" fmla="*/ 1013196 h 1403942"/>
              <a:gd name="connsiteX3" fmla="*/ 915 w 1167181"/>
              <a:gd name="connsiteY3" fmla="*/ 1403942 h 1403942"/>
              <a:gd name="connsiteX4" fmla="*/ 916 w 1167181"/>
              <a:gd name="connsiteY4" fmla="*/ 2215 h 1403942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86483 w 1252749"/>
              <a:gd name="connsiteY3" fmla="*/ 1403942 h 1438510"/>
              <a:gd name="connsiteX4" fmla="*/ 86104 w 1252749"/>
              <a:gd name="connsiteY4" fmla="*/ 1260419 h 1438510"/>
              <a:gd name="connsiteX5" fmla="*/ 86484 w 1252749"/>
              <a:gd name="connsiteY5" fmla="*/ 2215 h 1438510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177386 w 1252749"/>
              <a:gd name="connsiteY3" fmla="*/ 1373391 h 1438510"/>
              <a:gd name="connsiteX4" fmla="*/ 86483 w 1252749"/>
              <a:gd name="connsiteY4" fmla="*/ 1403942 h 1438510"/>
              <a:gd name="connsiteX5" fmla="*/ 86104 w 1252749"/>
              <a:gd name="connsiteY5" fmla="*/ 1260419 h 1438510"/>
              <a:gd name="connsiteX6" fmla="*/ 86484 w 1252749"/>
              <a:gd name="connsiteY6" fmla="*/ 2215 h 1438510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1154863 w 1252749"/>
              <a:gd name="connsiteY3" fmla="*/ 1041119 h 1438510"/>
              <a:gd name="connsiteX4" fmla="*/ 177386 w 1252749"/>
              <a:gd name="connsiteY4" fmla="*/ 1373391 h 1438510"/>
              <a:gd name="connsiteX5" fmla="*/ 86483 w 1252749"/>
              <a:gd name="connsiteY5" fmla="*/ 1403942 h 1438510"/>
              <a:gd name="connsiteX6" fmla="*/ 86104 w 1252749"/>
              <a:gd name="connsiteY6" fmla="*/ 1260419 h 1438510"/>
              <a:gd name="connsiteX7" fmla="*/ 86484 w 1252749"/>
              <a:gd name="connsiteY7" fmla="*/ 2215 h 1438510"/>
              <a:gd name="connsiteX0" fmla="*/ 86484 w 1337915"/>
              <a:gd name="connsiteY0" fmla="*/ 2215 h 1438510"/>
              <a:gd name="connsiteX1" fmla="*/ 1252321 w 1337915"/>
              <a:gd name="connsiteY1" fmla="*/ 0 h 1438510"/>
              <a:gd name="connsiteX2" fmla="*/ 1249949 w 1337915"/>
              <a:gd name="connsiteY2" fmla="*/ 894920 h 1438510"/>
              <a:gd name="connsiteX3" fmla="*/ 1251709 w 1337915"/>
              <a:gd name="connsiteY3" fmla="*/ 1013196 h 1438510"/>
              <a:gd name="connsiteX4" fmla="*/ 1154863 w 1337915"/>
              <a:gd name="connsiteY4" fmla="*/ 1041119 h 1438510"/>
              <a:gd name="connsiteX5" fmla="*/ 177386 w 1337915"/>
              <a:gd name="connsiteY5" fmla="*/ 1373391 h 1438510"/>
              <a:gd name="connsiteX6" fmla="*/ 86483 w 1337915"/>
              <a:gd name="connsiteY6" fmla="*/ 1403942 h 1438510"/>
              <a:gd name="connsiteX7" fmla="*/ 86104 w 1337915"/>
              <a:gd name="connsiteY7" fmla="*/ 1260419 h 1438510"/>
              <a:gd name="connsiteX8" fmla="*/ 86484 w 1337915"/>
              <a:gd name="connsiteY8" fmla="*/ 2215 h 1438510"/>
              <a:gd name="connsiteX0" fmla="*/ 86484 w 1341572"/>
              <a:gd name="connsiteY0" fmla="*/ 2215 h 1438510"/>
              <a:gd name="connsiteX1" fmla="*/ 1252321 w 1341572"/>
              <a:gd name="connsiteY1" fmla="*/ 0 h 1438510"/>
              <a:gd name="connsiteX2" fmla="*/ 1249949 w 1341572"/>
              <a:gd name="connsiteY2" fmla="*/ 894920 h 1438510"/>
              <a:gd name="connsiteX3" fmla="*/ 1154863 w 1341572"/>
              <a:gd name="connsiteY3" fmla="*/ 1041119 h 1438510"/>
              <a:gd name="connsiteX4" fmla="*/ 177386 w 1341572"/>
              <a:gd name="connsiteY4" fmla="*/ 1373391 h 1438510"/>
              <a:gd name="connsiteX5" fmla="*/ 86483 w 1341572"/>
              <a:gd name="connsiteY5" fmla="*/ 1403942 h 1438510"/>
              <a:gd name="connsiteX6" fmla="*/ 86104 w 1341572"/>
              <a:gd name="connsiteY6" fmla="*/ 1260419 h 1438510"/>
              <a:gd name="connsiteX7" fmla="*/ 86484 w 1341572"/>
              <a:gd name="connsiteY7" fmla="*/ 2215 h 1438510"/>
              <a:gd name="connsiteX0" fmla="*/ 86484 w 1341572"/>
              <a:gd name="connsiteY0" fmla="*/ 2215 h 1373391"/>
              <a:gd name="connsiteX1" fmla="*/ 1252321 w 1341572"/>
              <a:gd name="connsiteY1" fmla="*/ 0 h 1373391"/>
              <a:gd name="connsiteX2" fmla="*/ 1249949 w 1341572"/>
              <a:gd name="connsiteY2" fmla="*/ 894920 h 1373391"/>
              <a:gd name="connsiteX3" fmla="*/ 1154863 w 1341572"/>
              <a:gd name="connsiteY3" fmla="*/ 1041119 h 1373391"/>
              <a:gd name="connsiteX4" fmla="*/ 177386 w 1341572"/>
              <a:gd name="connsiteY4" fmla="*/ 1373391 h 1373391"/>
              <a:gd name="connsiteX5" fmla="*/ 86104 w 1341572"/>
              <a:gd name="connsiteY5" fmla="*/ 1260419 h 1373391"/>
              <a:gd name="connsiteX6" fmla="*/ 86484 w 1341572"/>
              <a:gd name="connsiteY6" fmla="*/ 2215 h 1373391"/>
              <a:gd name="connsiteX0" fmla="*/ 86484 w 1341572"/>
              <a:gd name="connsiteY0" fmla="*/ 2215 h 1380291"/>
              <a:gd name="connsiteX1" fmla="*/ 1252321 w 1341572"/>
              <a:gd name="connsiteY1" fmla="*/ 0 h 1380291"/>
              <a:gd name="connsiteX2" fmla="*/ 1249949 w 1341572"/>
              <a:gd name="connsiteY2" fmla="*/ 894920 h 1380291"/>
              <a:gd name="connsiteX3" fmla="*/ 1154863 w 1341572"/>
              <a:gd name="connsiteY3" fmla="*/ 1041119 h 1380291"/>
              <a:gd name="connsiteX4" fmla="*/ 177386 w 1341572"/>
              <a:gd name="connsiteY4" fmla="*/ 1373391 h 1380291"/>
              <a:gd name="connsiteX5" fmla="*/ 86104 w 1341572"/>
              <a:gd name="connsiteY5" fmla="*/ 1260419 h 1380291"/>
              <a:gd name="connsiteX6" fmla="*/ 86484 w 1341572"/>
              <a:gd name="connsiteY6" fmla="*/ 2215 h 1380291"/>
              <a:gd name="connsiteX0" fmla="*/ 86484 w 1341572"/>
              <a:gd name="connsiteY0" fmla="*/ 2215 h 1425606"/>
              <a:gd name="connsiteX1" fmla="*/ 1252321 w 1341572"/>
              <a:gd name="connsiteY1" fmla="*/ 0 h 1425606"/>
              <a:gd name="connsiteX2" fmla="*/ 1249949 w 1341572"/>
              <a:gd name="connsiteY2" fmla="*/ 894920 h 1425606"/>
              <a:gd name="connsiteX3" fmla="*/ 1154863 w 1341572"/>
              <a:gd name="connsiteY3" fmla="*/ 1041119 h 1425606"/>
              <a:gd name="connsiteX4" fmla="*/ 177386 w 1341572"/>
              <a:gd name="connsiteY4" fmla="*/ 1373391 h 1425606"/>
              <a:gd name="connsiteX5" fmla="*/ 86104 w 1341572"/>
              <a:gd name="connsiteY5" fmla="*/ 1260419 h 1425606"/>
              <a:gd name="connsiteX6" fmla="*/ 86484 w 1341572"/>
              <a:gd name="connsiteY6" fmla="*/ 2215 h 1425606"/>
              <a:gd name="connsiteX0" fmla="*/ 86484 w 1341572"/>
              <a:gd name="connsiteY0" fmla="*/ 2215 h 1410556"/>
              <a:gd name="connsiteX1" fmla="*/ 1252321 w 1341572"/>
              <a:gd name="connsiteY1" fmla="*/ 0 h 1410556"/>
              <a:gd name="connsiteX2" fmla="*/ 1249949 w 1341572"/>
              <a:gd name="connsiteY2" fmla="*/ 894920 h 1410556"/>
              <a:gd name="connsiteX3" fmla="*/ 1154863 w 1341572"/>
              <a:gd name="connsiteY3" fmla="*/ 1041119 h 1410556"/>
              <a:gd name="connsiteX4" fmla="*/ 177386 w 1341572"/>
              <a:gd name="connsiteY4" fmla="*/ 1373391 h 1410556"/>
              <a:gd name="connsiteX5" fmla="*/ 86104 w 1341572"/>
              <a:gd name="connsiteY5" fmla="*/ 1260419 h 1410556"/>
              <a:gd name="connsiteX6" fmla="*/ 86484 w 1341572"/>
              <a:gd name="connsiteY6" fmla="*/ 2215 h 1410556"/>
              <a:gd name="connsiteX0" fmla="*/ 86484 w 1341572"/>
              <a:gd name="connsiteY0" fmla="*/ 2215 h 1416904"/>
              <a:gd name="connsiteX1" fmla="*/ 1252321 w 1341572"/>
              <a:gd name="connsiteY1" fmla="*/ 0 h 1416904"/>
              <a:gd name="connsiteX2" fmla="*/ 1249949 w 1341572"/>
              <a:gd name="connsiteY2" fmla="*/ 894920 h 1416904"/>
              <a:gd name="connsiteX3" fmla="*/ 1154863 w 1341572"/>
              <a:gd name="connsiteY3" fmla="*/ 1041119 h 1416904"/>
              <a:gd name="connsiteX4" fmla="*/ 177386 w 1341572"/>
              <a:gd name="connsiteY4" fmla="*/ 1373391 h 1416904"/>
              <a:gd name="connsiteX5" fmla="*/ 86104 w 1341572"/>
              <a:gd name="connsiteY5" fmla="*/ 1260419 h 1416904"/>
              <a:gd name="connsiteX6" fmla="*/ 86484 w 1341572"/>
              <a:gd name="connsiteY6" fmla="*/ 2215 h 1416904"/>
              <a:gd name="connsiteX0" fmla="*/ 86484 w 1341572"/>
              <a:gd name="connsiteY0" fmla="*/ 2215 h 1383845"/>
              <a:gd name="connsiteX1" fmla="*/ 1252321 w 1341572"/>
              <a:gd name="connsiteY1" fmla="*/ 0 h 1383845"/>
              <a:gd name="connsiteX2" fmla="*/ 1249949 w 1341572"/>
              <a:gd name="connsiteY2" fmla="*/ 894920 h 1383845"/>
              <a:gd name="connsiteX3" fmla="*/ 1154863 w 1341572"/>
              <a:gd name="connsiteY3" fmla="*/ 1041119 h 1383845"/>
              <a:gd name="connsiteX4" fmla="*/ 177386 w 1341572"/>
              <a:gd name="connsiteY4" fmla="*/ 1373391 h 1383845"/>
              <a:gd name="connsiteX5" fmla="*/ 86104 w 1341572"/>
              <a:gd name="connsiteY5" fmla="*/ 1260419 h 1383845"/>
              <a:gd name="connsiteX6" fmla="*/ 86484 w 1341572"/>
              <a:gd name="connsiteY6" fmla="*/ 2215 h 1383845"/>
              <a:gd name="connsiteX0" fmla="*/ 86484 w 1341572"/>
              <a:gd name="connsiteY0" fmla="*/ 2215 h 1375531"/>
              <a:gd name="connsiteX1" fmla="*/ 1252321 w 1341572"/>
              <a:gd name="connsiteY1" fmla="*/ 0 h 1375531"/>
              <a:gd name="connsiteX2" fmla="*/ 1249949 w 1341572"/>
              <a:gd name="connsiteY2" fmla="*/ 894920 h 1375531"/>
              <a:gd name="connsiteX3" fmla="*/ 1154863 w 1341572"/>
              <a:gd name="connsiteY3" fmla="*/ 1041119 h 1375531"/>
              <a:gd name="connsiteX4" fmla="*/ 177386 w 1341572"/>
              <a:gd name="connsiteY4" fmla="*/ 1373391 h 1375531"/>
              <a:gd name="connsiteX5" fmla="*/ 86104 w 1341572"/>
              <a:gd name="connsiteY5" fmla="*/ 1260419 h 1375531"/>
              <a:gd name="connsiteX6" fmla="*/ 86484 w 1341572"/>
              <a:gd name="connsiteY6" fmla="*/ 2215 h 1375531"/>
              <a:gd name="connsiteX0" fmla="*/ 86484 w 1341572"/>
              <a:gd name="connsiteY0" fmla="*/ 2215 h 1375531"/>
              <a:gd name="connsiteX1" fmla="*/ 1252321 w 1341572"/>
              <a:gd name="connsiteY1" fmla="*/ 0 h 1375531"/>
              <a:gd name="connsiteX2" fmla="*/ 1249949 w 1341572"/>
              <a:gd name="connsiteY2" fmla="*/ 894920 h 1375531"/>
              <a:gd name="connsiteX3" fmla="*/ 1154863 w 1341572"/>
              <a:gd name="connsiteY3" fmla="*/ 1041119 h 1375531"/>
              <a:gd name="connsiteX4" fmla="*/ 177386 w 1341572"/>
              <a:gd name="connsiteY4" fmla="*/ 1373391 h 1375531"/>
              <a:gd name="connsiteX5" fmla="*/ 86104 w 1341572"/>
              <a:gd name="connsiteY5" fmla="*/ 1260419 h 1375531"/>
              <a:gd name="connsiteX6" fmla="*/ 86484 w 1341572"/>
              <a:gd name="connsiteY6" fmla="*/ 2215 h 1375531"/>
              <a:gd name="connsiteX0" fmla="*/ 380 w 1255468"/>
              <a:gd name="connsiteY0" fmla="*/ 2215 h 1375531"/>
              <a:gd name="connsiteX1" fmla="*/ 1166217 w 1255468"/>
              <a:gd name="connsiteY1" fmla="*/ 0 h 1375531"/>
              <a:gd name="connsiteX2" fmla="*/ 1163845 w 1255468"/>
              <a:gd name="connsiteY2" fmla="*/ 894920 h 1375531"/>
              <a:gd name="connsiteX3" fmla="*/ 1068759 w 1255468"/>
              <a:gd name="connsiteY3" fmla="*/ 1041119 h 1375531"/>
              <a:gd name="connsiteX4" fmla="*/ 91282 w 1255468"/>
              <a:gd name="connsiteY4" fmla="*/ 1373391 h 1375531"/>
              <a:gd name="connsiteX5" fmla="*/ 0 w 1255468"/>
              <a:gd name="connsiteY5" fmla="*/ 1260419 h 1375531"/>
              <a:gd name="connsiteX6" fmla="*/ 380 w 1255468"/>
              <a:gd name="connsiteY6" fmla="*/ 2215 h 1375531"/>
              <a:gd name="connsiteX0" fmla="*/ 380 w 1177259"/>
              <a:gd name="connsiteY0" fmla="*/ 2215 h 1375531"/>
              <a:gd name="connsiteX1" fmla="*/ 1166217 w 1177259"/>
              <a:gd name="connsiteY1" fmla="*/ 0 h 1375531"/>
              <a:gd name="connsiteX2" fmla="*/ 1163845 w 1177259"/>
              <a:gd name="connsiteY2" fmla="*/ 894920 h 1375531"/>
              <a:gd name="connsiteX3" fmla="*/ 1068759 w 1177259"/>
              <a:gd name="connsiteY3" fmla="*/ 1041119 h 1375531"/>
              <a:gd name="connsiteX4" fmla="*/ 91282 w 1177259"/>
              <a:gd name="connsiteY4" fmla="*/ 1373391 h 1375531"/>
              <a:gd name="connsiteX5" fmla="*/ 0 w 1177259"/>
              <a:gd name="connsiteY5" fmla="*/ 1260419 h 1375531"/>
              <a:gd name="connsiteX6" fmla="*/ 380 w 1177259"/>
              <a:gd name="connsiteY6" fmla="*/ 2215 h 1375531"/>
              <a:gd name="connsiteX0" fmla="*/ 380 w 1190511"/>
              <a:gd name="connsiteY0" fmla="*/ 2215 h 1375531"/>
              <a:gd name="connsiteX1" fmla="*/ 1166217 w 1190511"/>
              <a:gd name="connsiteY1" fmla="*/ 0 h 1375531"/>
              <a:gd name="connsiteX2" fmla="*/ 1163845 w 1190511"/>
              <a:gd name="connsiteY2" fmla="*/ 894920 h 1375531"/>
              <a:gd name="connsiteX3" fmla="*/ 1068759 w 1190511"/>
              <a:gd name="connsiteY3" fmla="*/ 1041119 h 1375531"/>
              <a:gd name="connsiteX4" fmla="*/ 91282 w 1190511"/>
              <a:gd name="connsiteY4" fmla="*/ 1373391 h 1375531"/>
              <a:gd name="connsiteX5" fmla="*/ 0 w 1190511"/>
              <a:gd name="connsiteY5" fmla="*/ 1260419 h 1375531"/>
              <a:gd name="connsiteX6" fmla="*/ 380 w 1190511"/>
              <a:gd name="connsiteY6" fmla="*/ 2215 h 1375531"/>
              <a:gd name="connsiteX0" fmla="*/ 380 w 1246984"/>
              <a:gd name="connsiteY0" fmla="*/ 2215 h 1375531"/>
              <a:gd name="connsiteX1" fmla="*/ 1166217 w 1246984"/>
              <a:gd name="connsiteY1" fmla="*/ 0 h 1375531"/>
              <a:gd name="connsiteX2" fmla="*/ 1163845 w 1246984"/>
              <a:gd name="connsiteY2" fmla="*/ 894920 h 1375531"/>
              <a:gd name="connsiteX3" fmla="*/ 1068759 w 1246984"/>
              <a:gd name="connsiteY3" fmla="*/ 1041119 h 1375531"/>
              <a:gd name="connsiteX4" fmla="*/ 91282 w 1246984"/>
              <a:gd name="connsiteY4" fmla="*/ 1373391 h 1375531"/>
              <a:gd name="connsiteX5" fmla="*/ 0 w 1246984"/>
              <a:gd name="connsiteY5" fmla="*/ 1260419 h 1375531"/>
              <a:gd name="connsiteX6" fmla="*/ 380 w 1246984"/>
              <a:gd name="connsiteY6" fmla="*/ 2215 h 1375531"/>
              <a:gd name="connsiteX0" fmla="*/ 380 w 1190511"/>
              <a:gd name="connsiteY0" fmla="*/ 2215 h 1375531"/>
              <a:gd name="connsiteX1" fmla="*/ 1166217 w 1190511"/>
              <a:gd name="connsiteY1" fmla="*/ 0 h 1375531"/>
              <a:gd name="connsiteX2" fmla="*/ 1163845 w 1190511"/>
              <a:gd name="connsiteY2" fmla="*/ 894920 h 1375531"/>
              <a:gd name="connsiteX3" fmla="*/ 1068759 w 1190511"/>
              <a:gd name="connsiteY3" fmla="*/ 1041119 h 1375531"/>
              <a:gd name="connsiteX4" fmla="*/ 91282 w 1190511"/>
              <a:gd name="connsiteY4" fmla="*/ 1373391 h 1375531"/>
              <a:gd name="connsiteX5" fmla="*/ 0 w 1190511"/>
              <a:gd name="connsiteY5" fmla="*/ 1260419 h 1375531"/>
              <a:gd name="connsiteX6" fmla="*/ 380 w 1190511"/>
              <a:gd name="connsiteY6" fmla="*/ 2215 h 1375531"/>
              <a:gd name="connsiteX0" fmla="*/ 380 w 1183009"/>
              <a:gd name="connsiteY0" fmla="*/ 2215 h 1375531"/>
              <a:gd name="connsiteX1" fmla="*/ 1166217 w 1183009"/>
              <a:gd name="connsiteY1" fmla="*/ 0 h 1375531"/>
              <a:gd name="connsiteX2" fmla="*/ 1163845 w 1183009"/>
              <a:gd name="connsiteY2" fmla="*/ 894920 h 1375531"/>
              <a:gd name="connsiteX3" fmla="*/ 1068759 w 1183009"/>
              <a:gd name="connsiteY3" fmla="*/ 1041119 h 1375531"/>
              <a:gd name="connsiteX4" fmla="*/ 91282 w 1183009"/>
              <a:gd name="connsiteY4" fmla="*/ 1373391 h 1375531"/>
              <a:gd name="connsiteX5" fmla="*/ 0 w 1183009"/>
              <a:gd name="connsiteY5" fmla="*/ 1260419 h 1375531"/>
              <a:gd name="connsiteX6" fmla="*/ 380 w 1183009"/>
              <a:gd name="connsiteY6" fmla="*/ 2215 h 1375531"/>
              <a:gd name="connsiteX0" fmla="*/ 380 w 1166217"/>
              <a:gd name="connsiteY0" fmla="*/ 2215 h 1375531"/>
              <a:gd name="connsiteX1" fmla="*/ 1166217 w 1166217"/>
              <a:gd name="connsiteY1" fmla="*/ 0 h 1375531"/>
              <a:gd name="connsiteX2" fmla="*/ 1163845 w 1166217"/>
              <a:gd name="connsiteY2" fmla="*/ 894920 h 1375531"/>
              <a:gd name="connsiteX3" fmla="*/ 1068759 w 1166217"/>
              <a:gd name="connsiteY3" fmla="*/ 1041119 h 1375531"/>
              <a:gd name="connsiteX4" fmla="*/ 91282 w 1166217"/>
              <a:gd name="connsiteY4" fmla="*/ 1373391 h 1375531"/>
              <a:gd name="connsiteX5" fmla="*/ 0 w 1166217"/>
              <a:gd name="connsiteY5" fmla="*/ 1260419 h 1375531"/>
              <a:gd name="connsiteX6" fmla="*/ 380 w 1166217"/>
              <a:gd name="connsiteY6" fmla="*/ 2215 h 1375531"/>
              <a:gd name="connsiteX0" fmla="*/ 6420 w 1172257"/>
              <a:gd name="connsiteY0" fmla="*/ 2215 h 1399780"/>
              <a:gd name="connsiteX1" fmla="*/ 1172257 w 1172257"/>
              <a:gd name="connsiteY1" fmla="*/ 0 h 1399780"/>
              <a:gd name="connsiteX2" fmla="*/ 1169885 w 1172257"/>
              <a:gd name="connsiteY2" fmla="*/ 894920 h 1399780"/>
              <a:gd name="connsiteX3" fmla="*/ 1074799 w 1172257"/>
              <a:gd name="connsiteY3" fmla="*/ 1041119 h 1399780"/>
              <a:gd name="connsiteX4" fmla="*/ 93519 w 1172257"/>
              <a:gd name="connsiteY4" fmla="*/ 1360100 h 1399780"/>
              <a:gd name="connsiteX5" fmla="*/ 6040 w 1172257"/>
              <a:gd name="connsiteY5" fmla="*/ 1260419 h 1399780"/>
              <a:gd name="connsiteX6" fmla="*/ 6420 w 1172257"/>
              <a:gd name="connsiteY6" fmla="*/ 2215 h 1399780"/>
              <a:gd name="connsiteX0" fmla="*/ 6420 w 1172257"/>
              <a:gd name="connsiteY0" fmla="*/ 2215 h 1400114"/>
              <a:gd name="connsiteX1" fmla="*/ 1172257 w 1172257"/>
              <a:gd name="connsiteY1" fmla="*/ 0 h 1400114"/>
              <a:gd name="connsiteX2" fmla="*/ 1169885 w 1172257"/>
              <a:gd name="connsiteY2" fmla="*/ 894920 h 1400114"/>
              <a:gd name="connsiteX3" fmla="*/ 1074799 w 1172257"/>
              <a:gd name="connsiteY3" fmla="*/ 1041119 h 1400114"/>
              <a:gd name="connsiteX4" fmla="*/ 93519 w 1172257"/>
              <a:gd name="connsiteY4" fmla="*/ 1360100 h 1400114"/>
              <a:gd name="connsiteX5" fmla="*/ 6040 w 1172257"/>
              <a:gd name="connsiteY5" fmla="*/ 1260419 h 1400114"/>
              <a:gd name="connsiteX6" fmla="*/ 6420 w 1172257"/>
              <a:gd name="connsiteY6" fmla="*/ 2215 h 1400114"/>
              <a:gd name="connsiteX0" fmla="*/ 666 w 1166503"/>
              <a:gd name="connsiteY0" fmla="*/ 2215 h 1363444"/>
              <a:gd name="connsiteX1" fmla="*/ 1166503 w 1166503"/>
              <a:gd name="connsiteY1" fmla="*/ 0 h 1363444"/>
              <a:gd name="connsiteX2" fmla="*/ 1164131 w 1166503"/>
              <a:gd name="connsiteY2" fmla="*/ 894920 h 1363444"/>
              <a:gd name="connsiteX3" fmla="*/ 1069045 w 1166503"/>
              <a:gd name="connsiteY3" fmla="*/ 1041119 h 1363444"/>
              <a:gd name="connsiteX4" fmla="*/ 87765 w 1166503"/>
              <a:gd name="connsiteY4" fmla="*/ 1360100 h 1363444"/>
              <a:gd name="connsiteX5" fmla="*/ 286 w 1166503"/>
              <a:gd name="connsiteY5" fmla="*/ 1260419 h 1363444"/>
              <a:gd name="connsiteX6" fmla="*/ 666 w 1166503"/>
              <a:gd name="connsiteY6" fmla="*/ 2215 h 1363444"/>
              <a:gd name="connsiteX0" fmla="*/ 666 w 1168481"/>
              <a:gd name="connsiteY0" fmla="*/ 6645 h 1367874"/>
              <a:gd name="connsiteX1" fmla="*/ 1156995 w 1168481"/>
              <a:gd name="connsiteY1" fmla="*/ 0 h 1367874"/>
              <a:gd name="connsiteX2" fmla="*/ 1164131 w 1168481"/>
              <a:gd name="connsiteY2" fmla="*/ 899350 h 1367874"/>
              <a:gd name="connsiteX3" fmla="*/ 1069045 w 1168481"/>
              <a:gd name="connsiteY3" fmla="*/ 1045549 h 1367874"/>
              <a:gd name="connsiteX4" fmla="*/ 87765 w 1168481"/>
              <a:gd name="connsiteY4" fmla="*/ 1364530 h 1367874"/>
              <a:gd name="connsiteX5" fmla="*/ 286 w 1168481"/>
              <a:gd name="connsiteY5" fmla="*/ 1264849 h 1367874"/>
              <a:gd name="connsiteX6" fmla="*/ 666 w 1168481"/>
              <a:gd name="connsiteY6" fmla="*/ 6645 h 1367874"/>
              <a:gd name="connsiteX0" fmla="*/ 666 w 1169473"/>
              <a:gd name="connsiteY0" fmla="*/ 6645 h 1367874"/>
              <a:gd name="connsiteX1" fmla="*/ 1156995 w 1169473"/>
              <a:gd name="connsiteY1" fmla="*/ 0 h 1367874"/>
              <a:gd name="connsiteX2" fmla="*/ 1164131 w 1169473"/>
              <a:gd name="connsiteY2" fmla="*/ 899350 h 1367874"/>
              <a:gd name="connsiteX3" fmla="*/ 1069045 w 1169473"/>
              <a:gd name="connsiteY3" fmla="*/ 1045549 h 1367874"/>
              <a:gd name="connsiteX4" fmla="*/ 87765 w 1169473"/>
              <a:gd name="connsiteY4" fmla="*/ 1364530 h 1367874"/>
              <a:gd name="connsiteX5" fmla="*/ 286 w 1169473"/>
              <a:gd name="connsiteY5" fmla="*/ 1264849 h 1367874"/>
              <a:gd name="connsiteX6" fmla="*/ 666 w 1169473"/>
              <a:gd name="connsiteY6" fmla="*/ 6645 h 1367874"/>
              <a:gd name="connsiteX0" fmla="*/ 666 w 1162319"/>
              <a:gd name="connsiteY0" fmla="*/ 6645 h 1367874"/>
              <a:gd name="connsiteX1" fmla="*/ 1156995 w 1162319"/>
              <a:gd name="connsiteY1" fmla="*/ 0 h 1367874"/>
              <a:gd name="connsiteX2" fmla="*/ 1154622 w 1162319"/>
              <a:gd name="connsiteY2" fmla="*/ 886059 h 1367874"/>
              <a:gd name="connsiteX3" fmla="*/ 1069045 w 1162319"/>
              <a:gd name="connsiteY3" fmla="*/ 1045549 h 1367874"/>
              <a:gd name="connsiteX4" fmla="*/ 87765 w 1162319"/>
              <a:gd name="connsiteY4" fmla="*/ 1364530 h 1367874"/>
              <a:gd name="connsiteX5" fmla="*/ 286 w 1162319"/>
              <a:gd name="connsiteY5" fmla="*/ 1264849 h 1367874"/>
              <a:gd name="connsiteX6" fmla="*/ 666 w 1162319"/>
              <a:gd name="connsiteY6" fmla="*/ 6645 h 1367874"/>
              <a:gd name="connsiteX0" fmla="*/ 666 w 1157419"/>
              <a:gd name="connsiteY0" fmla="*/ 6645 h 1367874"/>
              <a:gd name="connsiteX1" fmla="*/ 1156995 w 1157419"/>
              <a:gd name="connsiteY1" fmla="*/ 0 h 1367874"/>
              <a:gd name="connsiteX2" fmla="*/ 1154622 w 1157419"/>
              <a:gd name="connsiteY2" fmla="*/ 886059 h 1367874"/>
              <a:gd name="connsiteX3" fmla="*/ 1069045 w 1157419"/>
              <a:gd name="connsiteY3" fmla="*/ 1045549 h 1367874"/>
              <a:gd name="connsiteX4" fmla="*/ 87765 w 1157419"/>
              <a:gd name="connsiteY4" fmla="*/ 1364530 h 1367874"/>
              <a:gd name="connsiteX5" fmla="*/ 286 w 1157419"/>
              <a:gd name="connsiteY5" fmla="*/ 1264849 h 1367874"/>
              <a:gd name="connsiteX6" fmla="*/ 666 w 1157419"/>
              <a:gd name="connsiteY6" fmla="*/ 6645 h 1367874"/>
              <a:gd name="connsiteX0" fmla="*/ 666 w 1157396"/>
              <a:gd name="connsiteY0" fmla="*/ 6645 h 1367874"/>
              <a:gd name="connsiteX1" fmla="*/ 1156995 w 1157396"/>
              <a:gd name="connsiteY1" fmla="*/ 0 h 1367874"/>
              <a:gd name="connsiteX2" fmla="*/ 1154622 w 1157396"/>
              <a:gd name="connsiteY2" fmla="*/ 886059 h 1367874"/>
              <a:gd name="connsiteX3" fmla="*/ 1069045 w 1157396"/>
              <a:gd name="connsiteY3" fmla="*/ 1045549 h 1367874"/>
              <a:gd name="connsiteX4" fmla="*/ 87765 w 1157396"/>
              <a:gd name="connsiteY4" fmla="*/ 1364530 h 1367874"/>
              <a:gd name="connsiteX5" fmla="*/ 286 w 1157396"/>
              <a:gd name="connsiteY5" fmla="*/ 1264849 h 1367874"/>
              <a:gd name="connsiteX6" fmla="*/ 666 w 1157396"/>
              <a:gd name="connsiteY6" fmla="*/ 6645 h 1367874"/>
              <a:gd name="connsiteX0" fmla="*/ 666 w 1154651"/>
              <a:gd name="connsiteY0" fmla="*/ 6645 h 1367874"/>
              <a:gd name="connsiteX1" fmla="*/ 726871 w 1154651"/>
              <a:gd name="connsiteY1" fmla="*/ 0 h 1367874"/>
              <a:gd name="connsiteX2" fmla="*/ 1154622 w 1154651"/>
              <a:gd name="connsiteY2" fmla="*/ 886059 h 1367874"/>
              <a:gd name="connsiteX3" fmla="*/ 1069045 w 1154651"/>
              <a:gd name="connsiteY3" fmla="*/ 1045549 h 1367874"/>
              <a:gd name="connsiteX4" fmla="*/ 87765 w 1154651"/>
              <a:gd name="connsiteY4" fmla="*/ 1364530 h 1367874"/>
              <a:gd name="connsiteX5" fmla="*/ 286 w 1154651"/>
              <a:gd name="connsiteY5" fmla="*/ 1264849 h 1367874"/>
              <a:gd name="connsiteX6" fmla="*/ 666 w 1154651"/>
              <a:gd name="connsiteY6" fmla="*/ 6645 h 1367874"/>
              <a:gd name="connsiteX0" fmla="*/ 666 w 1087791"/>
              <a:gd name="connsiteY0" fmla="*/ 6645 h 1367874"/>
              <a:gd name="connsiteX1" fmla="*/ 726871 w 1087791"/>
              <a:gd name="connsiteY1" fmla="*/ 0 h 1367874"/>
              <a:gd name="connsiteX2" fmla="*/ 757197 w 1087791"/>
              <a:gd name="connsiteY2" fmla="*/ 906568 h 1367874"/>
              <a:gd name="connsiteX3" fmla="*/ 1069045 w 1087791"/>
              <a:gd name="connsiteY3" fmla="*/ 1045549 h 1367874"/>
              <a:gd name="connsiteX4" fmla="*/ 87765 w 1087791"/>
              <a:gd name="connsiteY4" fmla="*/ 1364530 h 1367874"/>
              <a:gd name="connsiteX5" fmla="*/ 286 w 1087791"/>
              <a:gd name="connsiteY5" fmla="*/ 1264849 h 1367874"/>
              <a:gd name="connsiteX6" fmla="*/ 666 w 1087791"/>
              <a:gd name="connsiteY6" fmla="*/ 6645 h 1367874"/>
              <a:gd name="connsiteX0" fmla="*/ 666 w 1085800"/>
              <a:gd name="connsiteY0" fmla="*/ 6645 h 1367874"/>
              <a:gd name="connsiteX1" fmla="*/ 726871 w 1085800"/>
              <a:gd name="connsiteY1" fmla="*/ 0 h 1367874"/>
              <a:gd name="connsiteX2" fmla="*/ 732043 w 1085800"/>
              <a:gd name="connsiteY2" fmla="*/ 903638 h 1367874"/>
              <a:gd name="connsiteX3" fmla="*/ 1069045 w 1085800"/>
              <a:gd name="connsiteY3" fmla="*/ 1045549 h 1367874"/>
              <a:gd name="connsiteX4" fmla="*/ 87765 w 1085800"/>
              <a:gd name="connsiteY4" fmla="*/ 1364530 h 1367874"/>
              <a:gd name="connsiteX5" fmla="*/ 286 w 1085800"/>
              <a:gd name="connsiteY5" fmla="*/ 1264849 h 1367874"/>
              <a:gd name="connsiteX6" fmla="*/ 666 w 1085800"/>
              <a:gd name="connsiteY6" fmla="*/ 6645 h 1367874"/>
              <a:gd name="connsiteX0" fmla="*/ 666 w 733624"/>
              <a:gd name="connsiteY0" fmla="*/ 6645 h 1367874"/>
              <a:gd name="connsiteX1" fmla="*/ 726871 w 733624"/>
              <a:gd name="connsiteY1" fmla="*/ 0 h 1367874"/>
              <a:gd name="connsiteX2" fmla="*/ 732043 w 733624"/>
              <a:gd name="connsiteY2" fmla="*/ 903638 h 1367874"/>
              <a:gd name="connsiteX3" fmla="*/ 643952 w 733624"/>
              <a:gd name="connsiteY3" fmla="*/ 1192041 h 1367874"/>
              <a:gd name="connsiteX4" fmla="*/ 87765 w 733624"/>
              <a:gd name="connsiteY4" fmla="*/ 1364530 h 1367874"/>
              <a:gd name="connsiteX5" fmla="*/ 286 w 733624"/>
              <a:gd name="connsiteY5" fmla="*/ 1264849 h 1367874"/>
              <a:gd name="connsiteX6" fmla="*/ 666 w 733624"/>
              <a:gd name="connsiteY6" fmla="*/ 6645 h 1367874"/>
              <a:gd name="connsiteX0" fmla="*/ 666 w 733624"/>
              <a:gd name="connsiteY0" fmla="*/ 6645 h 1367874"/>
              <a:gd name="connsiteX1" fmla="*/ 726871 w 733624"/>
              <a:gd name="connsiteY1" fmla="*/ 0 h 1367874"/>
              <a:gd name="connsiteX2" fmla="*/ 732043 w 733624"/>
              <a:gd name="connsiteY2" fmla="*/ 976884 h 1367874"/>
              <a:gd name="connsiteX3" fmla="*/ 643952 w 733624"/>
              <a:gd name="connsiteY3" fmla="*/ 1192041 h 1367874"/>
              <a:gd name="connsiteX4" fmla="*/ 87765 w 733624"/>
              <a:gd name="connsiteY4" fmla="*/ 1364530 h 1367874"/>
              <a:gd name="connsiteX5" fmla="*/ 286 w 733624"/>
              <a:gd name="connsiteY5" fmla="*/ 1264849 h 1367874"/>
              <a:gd name="connsiteX6" fmla="*/ 666 w 733624"/>
              <a:gd name="connsiteY6" fmla="*/ 6645 h 1367874"/>
              <a:gd name="connsiteX0" fmla="*/ 666 w 732674"/>
              <a:gd name="connsiteY0" fmla="*/ 6645 h 1367874"/>
              <a:gd name="connsiteX1" fmla="*/ 726871 w 732674"/>
              <a:gd name="connsiteY1" fmla="*/ 0 h 1367874"/>
              <a:gd name="connsiteX2" fmla="*/ 732043 w 732674"/>
              <a:gd name="connsiteY2" fmla="*/ 976884 h 1367874"/>
              <a:gd name="connsiteX3" fmla="*/ 643952 w 732674"/>
              <a:gd name="connsiteY3" fmla="*/ 1192041 h 1367874"/>
              <a:gd name="connsiteX4" fmla="*/ 87765 w 732674"/>
              <a:gd name="connsiteY4" fmla="*/ 1364530 h 1367874"/>
              <a:gd name="connsiteX5" fmla="*/ 286 w 732674"/>
              <a:gd name="connsiteY5" fmla="*/ 1264849 h 1367874"/>
              <a:gd name="connsiteX6" fmla="*/ 666 w 732674"/>
              <a:gd name="connsiteY6" fmla="*/ 6645 h 1367874"/>
              <a:gd name="connsiteX0" fmla="*/ 666 w 732674"/>
              <a:gd name="connsiteY0" fmla="*/ 0 h 1361229"/>
              <a:gd name="connsiteX1" fmla="*/ 731902 w 732674"/>
              <a:gd name="connsiteY1" fmla="*/ 8004 h 1361229"/>
              <a:gd name="connsiteX2" fmla="*/ 732043 w 732674"/>
              <a:gd name="connsiteY2" fmla="*/ 970239 h 1361229"/>
              <a:gd name="connsiteX3" fmla="*/ 643952 w 732674"/>
              <a:gd name="connsiteY3" fmla="*/ 1185396 h 1361229"/>
              <a:gd name="connsiteX4" fmla="*/ 87765 w 732674"/>
              <a:gd name="connsiteY4" fmla="*/ 1357885 h 1361229"/>
              <a:gd name="connsiteX5" fmla="*/ 286 w 732674"/>
              <a:gd name="connsiteY5" fmla="*/ 1258204 h 1361229"/>
              <a:gd name="connsiteX6" fmla="*/ 666 w 732674"/>
              <a:gd name="connsiteY6" fmla="*/ 0 h 1361229"/>
              <a:gd name="connsiteX0" fmla="*/ 666 w 732674"/>
              <a:gd name="connsiteY0" fmla="*/ 3715 h 1364944"/>
              <a:gd name="connsiteX1" fmla="*/ 729386 w 732674"/>
              <a:gd name="connsiteY1" fmla="*/ 0 h 1364944"/>
              <a:gd name="connsiteX2" fmla="*/ 732043 w 732674"/>
              <a:gd name="connsiteY2" fmla="*/ 973954 h 1364944"/>
              <a:gd name="connsiteX3" fmla="*/ 643952 w 732674"/>
              <a:gd name="connsiteY3" fmla="*/ 1189111 h 1364944"/>
              <a:gd name="connsiteX4" fmla="*/ 87765 w 732674"/>
              <a:gd name="connsiteY4" fmla="*/ 1361600 h 1364944"/>
              <a:gd name="connsiteX5" fmla="*/ 286 w 732674"/>
              <a:gd name="connsiteY5" fmla="*/ 1261919 h 1364944"/>
              <a:gd name="connsiteX6" fmla="*/ 666 w 732674"/>
              <a:gd name="connsiteY6" fmla="*/ 3715 h 1364944"/>
              <a:gd name="connsiteX0" fmla="*/ 666 w 1172824"/>
              <a:gd name="connsiteY0" fmla="*/ 0 h 1361229"/>
              <a:gd name="connsiteX1" fmla="*/ 1172819 w 1172824"/>
              <a:gd name="connsiteY1" fmla="*/ 10119 h 1361229"/>
              <a:gd name="connsiteX2" fmla="*/ 732043 w 1172824"/>
              <a:gd name="connsiteY2" fmla="*/ 970239 h 1361229"/>
              <a:gd name="connsiteX3" fmla="*/ 643952 w 1172824"/>
              <a:gd name="connsiteY3" fmla="*/ 1185396 h 1361229"/>
              <a:gd name="connsiteX4" fmla="*/ 87765 w 1172824"/>
              <a:gd name="connsiteY4" fmla="*/ 1357885 h 1361229"/>
              <a:gd name="connsiteX5" fmla="*/ 286 w 1172824"/>
              <a:gd name="connsiteY5" fmla="*/ 1258204 h 1361229"/>
              <a:gd name="connsiteX6" fmla="*/ 666 w 1172824"/>
              <a:gd name="connsiteY6" fmla="*/ 0 h 1361229"/>
              <a:gd name="connsiteX0" fmla="*/ 666 w 1168865"/>
              <a:gd name="connsiteY0" fmla="*/ 0 h 1361229"/>
              <a:gd name="connsiteX1" fmla="*/ 1168860 w 1168865"/>
              <a:gd name="connsiteY1" fmla="*/ 896 h 1361229"/>
              <a:gd name="connsiteX2" fmla="*/ 732043 w 1168865"/>
              <a:gd name="connsiteY2" fmla="*/ 970239 h 1361229"/>
              <a:gd name="connsiteX3" fmla="*/ 643952 w 1168865"/>
              <a:gd name="connsiteY3" fmla="*/ 1185396 h 1361229"/>
              <a:gd name="connsiteX4" fmla="*/ 87765 w 1168865"/>
              <a:gd name="connsiteY4" fmla="*/ 1357885 h 1361229"/>
              <a:gd name="connsiteX5" fmla="*/ 286 w 1168865"/>
              <a:gd name="connsiteY5" fmla="*/ 1258204 h 1361229"/>
              <a:gd name="connsiteX6" fmla="*/ 666 w 1168865"/>
              <a:gd name="connsiteY6" fmla="*/ 0 h 1361229"/>
              <a:gd name="connsiteX0" fmla="*/ 666 w 1169344"/>
              <a:gd name="connsiteY0" fmla="*/ 0 h 1361229"/>
              <a:gd name="connsiteX1" fmla="*/ 1168860 w 1169344"/>
              <a:gd name="connsiteY1" fmla="*/ 896 h 1361229"/>
              <a:gd name="connsiteX2" fmla="*/ 1167557 w 1169344"/>
              <a:gd name="connsiteY2" fmla="*/ 845731 h 1361229"/>
              <a:gd name="connsiteX3" fmla="*/ 643952 w 1169344"/>
              <a:gd name="connsiteY3" fmla="*/ 1185396 h 1361229"/>
              <a:gd name="connsiteX4" fmla="*/ 87765 w 1169344"/>
              <a:gd name="connsiteY4" fmla="*/ 1357885 h 1361229"/>
              <a:gd name="connsiteX5" fmla="*/ 286 w 1169344"/>
              <a:gd name="connsiteY5" fmla="*/ 1258204 h 1361229"/>
              <a:gd name="connsiteX6" fmla="*/ 666 w 1169344"/>
              <a:gd name="connsiteY6" fmla="*/ 0 h 1361229"/>
              <a:gd name="connsiteX0" fmla="*/ 666 w 1180430"/>
              <a:gd name="connsiteY0" fmla="*/ 0 h 1361229"/>
              <a:gd name="connsiteX1" fmla="*/ 1168860 w 1180430"/>
              <a:gd name="connsiteY1" fmla="*/ 896 h 1361229"/>
              <a:gd name="connsiteX2" fmla="*/ 1167557 w 1180430"/>
              <a:gd name="connsiteY2" fmla="*/ 845731 h 1361229"/>
              <a:gd name="connsiteX3" fmla="*/ 1055711 w 1180430"/>
              <a:gd name="connsiteY3" fmla="*/ 977884 h 1361229"/>
              <a:gd name="connsiteX4" fmla="*/ 87765 w 1180430"/>
              <a:gd name="connsiteY4" fmla="*/ 1357885 h 1361229"/>
              <a:gd name="connsiteX5" fmla="*/ 286 w 1180430"/>
              <a:gd name="connsiteY5" fmla="*/ 1258204 h 1361229"/>
              <a:gd name="connsiteX6" fmla="*/ 666 w 1180430"/>
              <a:gd name="connsiteY6" fmla="*/ 0 h 1361229"/>
              <a:gd name="connsiteX0" fmla="*/ 666 w 1169344"/>
              <a:gd name="connsiteY0" fmla="*/ 0 h 1361229"/>
              <a:gd name="connsiteX1" fmla="*/ 1168860 w 1169344"/>
              <a:gd name="connsiteY1" fmla="*/ 896 h 1361229"/>
              <a:gd name="connsiteX2" fmla="*/ 1167557 w 1169344"/>
              <a:gd name="connsiteY2" fmla="*/ 845731 h 1361229"/>
              <a:gd name="connsiteX3" fmla="*/ 1055711 w 1169344"/>
              <a:gd name="connsiteY3" fmla="*/ 977884 h 1361229"/>
              <a:gd name="connsiteX4" fmla="*/ 87765 w 1169344"/>
              <a:gd name="connsiteY4" fmla="*/ 1357885 h 1361229"/>
              <a:gd name="connsiteX5" fmla="*/ 286 w 1169344"/>
              <a:gd name="connsiteY5" fmla="*/ 1258204 h 1361229"/>
              <a:gd name="connsiteX6" fmla="*/ 666 w 1169344"/>
              <a:gd name="connsiteY6" fmla="*/ 0 h 1361229"/>
              <a:gd name="connsiteX0" fmla="*/ 666 w 1173094"/>
              <a:gd name="connsiteY0" fmla="*/ 0 h 1361229"/>
              <a:gd name="connsiteX1" fmla="*/ 1172819 w 1173094"/>
              <a:gd name="connsiteY1" fmla="*/ 646490 h 1361229"/>
              <a:gd name="connsiteX2" fmla="*/ 1167557 w 1173094"/>
              <a:gd name="connsiteY2" fmla="*/ 845731 h 1361229"/>
              <a:gd name="connsiteX3" fmla="*/ 1055711 w 1173094"/>
              <a:gd name="connsiteY3" fmla="*/ 977884 h 1361229"/>
              <a:gd name="connsiteX4" fmla="*/ 87765 w 1173094"/>
              <a:gd name="connsiteY4" fmla="*/ 1357885 h 1361229"/>
              <a:gd name="connsiteX5" fmla="*/ 286 w 1173094"/>
              <a:gd name="connsiteY5" fmla="*/ 1258204 h 1361229"/>
              <a:gd name="connsiteX6" fmla="*/ 666 w 1173094"/>
              <a:gd name="connsiteY6" fmla="*/ 0 h 1361229"/>
              <a:gd name="connsiteX0" fmla="*/ 3825 w 1180212"/>
              <a:gd name="connsiteY0" fmla="*/ 0 h 728516"/>
              <a:gd name="connsiteX1" fmla="*/ 1179937 w 1180212"/>
              <a:gd name="connsiteY1" fmla="*/ 10118 h 728516"/>
              <a:gd name="connsiteX2" fmla="*/ 1174675 w 1180212"/>
              <a:gd name="connsiteY2" fmla="*/ 209359 h 728516"/>
              <a:gd name="connsiteX3" fmla="*/ 1062829 w 1180212"/>
              <a:gd name="connsiteY3" fmla="*/ 341512 h 728516"/>
              <a:gd name="connsiteX4" fmla="*/ 94883 w 1180212"/>
              <a:gd name="connsiteY4" fmla="*/ 721513 h 728516"/>
              <a:gd name="connsiteX5" fmla="*/ 7404 w 1180212"/>
              <a:gd name="connsiteY5" fmla="*/ 621832 h 728516"/>
              <a:gd name="connsiteX6" fmla="*/ 3825 w 1180212"/>
              <a:gd name="connsiteY6" fmla="*/ 0 h 728516"/>
              <a:gd name="connsiteX0" fmla="*/ 0 w 1176387"/>
              <a:gd name="connsiteY0" fmla="*/ 0 h 725513"/>
              <a:gd name="connsiteX1" fmla="*/ 1176112 w 1176387"/>
              <a:gd name="connsiteY1" fmla="*/ 10118 h 725513"/>
              <a:gd name="connsiteX2" fmla="*/ 1170850 w 1176387"/>
              <a:gd name="connsiteY2" fmla="*/ 209359 h 725513"/>
              <a:gd name="connsiteX3" fmla="*/ 1059004 w 1176387"/>
              <a:gd name="connsiteY3" fmla="*/ 341512 h 725513"/>
              <a:gd name="connsiteX4" fmla="*/ 91058 w 1176387"/>
              <a:gd name="connsiteY4" fmla="*/ 721513 h 725513"/>
              <a:gd name="connsiteX5" fmla="*/ 3579 w 1176387"/>
              <a:gd name="connsiteY5" fmla="*/ 621832 h 725513"/>
              <a:gd name="connsiteX6" fmla="*/ 0 w 1176387"/>
              <a:gd name="connsiteY6" fmla="*/ 0 h 725513"/>
              <a:gd name="connsiteX0" fmla="*/ 0 w 1176387"/>
              <a:gd name="connsiteY0" fmla="*/ 0 h 725110"/>
              <a:gd name="connsiteX1" fmla="*/ 1176112 w 1176387"/>
              <a:gd name="connsiteY1" fmla="*/ 10118 h 725110"/>
              <a:gd name="connsiteX2" fmla="*/ 1170850 w 1176387"/>
              <a:gd name="connsiteY2" fmla="*/ 209359 h 725110"/>
              <a:gd name="connsiteX3" fmla="*/ 1059004 w 1176387"/>
              <a:gd name="connsiteY3" fmla="*/ 341512 h 725110"/>
              <a:gd name="connsiteX4" fmla="*/ 91058 w 1176387"/>
              <a:gd name="connsiteY4" fmla="*/ 721513 h 725110"/>
              <a:gd name="connsiteX5" fmla="*/ 3579 w 1176387"/>
              <a:gd name="connsiteY5" fmla="*/ 617365 h 725110"/>
              <a:gd name="connsiteX6" fmla="*/ 0 w 1176387"/>
              <a:gd name="connsiteY6" fmla="*/ 0 h 725110"/>
              <a:gd name="connsiteX0" fmla="*/ 0 w 1176387"/>
              <a:gd name="connsiteY0" fmla="*/ 0 h 725687"/>
              <a:gd name="connsiteX1" fmla="*/ 1176112 w 1176387"/>
              <a:gd name="connsiteY1" fmla="*/ 10118 h 725687"/>
              <a:gd name="connsiteX2" fmla="*/ 1170850 w 1176387"/>
              <a:gd name="connsiteY2" fmla="*/ 209359 h 725687"/>
              <a:gd name="connsiteX3" fmla="*/ 1059004 w 1176387"/>
              <a:gd name="connsiteY3" fmla="*/ 341512 h 725687"/>
              <a:gd name="connsiteX4" fmla="*/ 91058 w 1176387"/>
              <a:gd name="connsiteY4" fmla="*/ 721513 h 725687"/>
              <a:gd name="connsiteX5" fmla="*/ 3579 w 1176387"/>
              <a:gd name="connsiteY5" fmla="*/ 617365 h 725687"/>
              <a:gd name="connsiteX6" fmla="*/ 0 w 1176387"/>
              <a:gd name="connsiteY6" fmla="*/ 0 h 725687"/>
              <a:gd name="connsiteX0" fmla="*/ 0 w 1188887"/>
              <a:gd name="connsiteY0" fmla="*/ 0 h 725687"/>
              <a:gd name="connsiteX1" fmla="*/ 1176112 w 1188887"/>
              <a:gd name="connsiteY1" fmla="*/ 10118 h 725687"/>
              <a:gd name="connsiteX2" fmla="*/ 1178520 w 1188887"/>
              <a:gd name="connsiteY2" fmla="*/ 209359 h 725687"/>
              <a:gd name="connsiteX3" fmla="*/ 1059004 w 1188887"/>
              <a:gd name="connsiteY3" fmla="*/ 341512 h 725687"/>
              <a:gd name="connsiteX4" fmla="*/ 91058 w 1188887"/>
              <a:gd name="connsiteY4" fmla="*/ 721513 h 725687"/>
              <a:gd name="connsiteX5" fmla="*/ 3579 w 1188887"/>
              <a:gd name="connsiteY5" fmla="*/ 617365 h 725687"/>
              <a:gd name="connsiteX6" fmla="*/ 0 w 1188887"/>
              <a:gd name="connsiteY6" fmla="*/ 0 h 725687"/>
              <a:gd name="connsiteX0" fmla="*/ 0 w 1189713"/>
              <a:gd name="connsiteY0" fmla="*/ 0 h 725687"/>
              <a:gd name="connsiteX1" fmla="*/ 1176112 w 1189713"/>
              <a:gd name="connsiteY1" fmla="*/ 10118 h 725687"/>
              <a:gd name="connsiteX2" fmla="*/ 1178520 w 1189713"/>
              <a:gd name="connsiteY2" fmla="*/ 209359 h 725687"/>
              <a:gd name="connsiteX3" fmla="*/ 1059004 w 1189713"/>
              <a:gd name="connsiteY3" fmla="*/ 341512 h 725687"/>
              <a:gd name="connsiteX4" fmla="*/ 91058 w 1189713"/>
              <a:gd name="connsiteY4" fmla="*/ 721513 h 725687"/>
              <a:gd name="connsiteX5" fmla="*/ 3579 w 1189713"/>
              <a:gd name="connsiteY5" fmla="*/ 617365 h 725687"/>
              <a:gd name="connsiteX6" fmla="*/ 0 w 1189713"/>
              <a:gd name="connsiteY6" fmla="*/ 0 h 725687"/>
              <a:gd name="connsiteX0" fmla="*/ 0 w 1178718"/>
              <a:gd name="connsiteY0" fmla="*/ 0 h 725687"/>
              <a:gd name="connsiteX1" fmla="*/ 1176112 w 1178718"/>
              <a:gd name="connsiteY1" fmla="*/ 10118 h 725687"/>
              <a:gd name="connsiteX2" fmla="*/ 1178520 w 1178718"/>
              <a:gd name="connsiteY2" fmla="*/ 209359 h 725687"/>
              <a:gd name="connsiteX3" fmla="*/ 1059004 w 1178718"/>
              <a:gd name="connsiteY3" fmla="*/ 341512 h 725687"/>
              <a:gd name="connsiteX4" fmla="*/ 91058 w 1178718"/>
              <a:gd name="connsiteY4" fmla="*/ 721513 h 725687"/>
              <a:gd name="connsiteX5" fmla="*/ 3579 w 1178718"/>
              <a:gd name="connsiteY5" fmla="*/ 617365 h 725687"/>
              <a:gd name="connsiteX6" fmla="*/ 0 w 1178718"/>
              <a:gd name="connsiteY6" fmla="*/ 0 h 725687"/>
              <a:gd name="connsiteX0" fmla="*/ 0 w 1178773"/>
              <a:gd name="connsiteY0" fmla="*/ 0 h 725687"/>
              <a:gd name="connsiteX1" fmla="*/ 1178029 w 1178773"/>
              <a:gd name="connsiteY1" fmla="*/ 1184 h 725687"/>
              <a:gd name="connsiteX2" fmla="*/ 1178520 w 1178773"/>
              <a:gd name="connsiteY2" fmla="*/ 209359 h 725687"/>
              <a:gd name="connsiteX3" fmla="*/ 1059004 w 1178773"/>
              <a:gd name="connsiteY3" fmla="*/ 341512 h 725687"/>
              <a:gd name="connsiteX4" fmla="*/ 91058 w 1178773"/>
              <a:gd name="connsiteY4" fmla="*/ 721513 h 725687"/>
              <a:gd name="connsiteX5" fmla="*/ 3579 w 1178773"/>
              <a:gd name="connsiteY5" fmla="*/ 617365 h 725687"/>
              <a:gd name="connsiteX6" fmla="*/ 0 w 1178773"/>
              <a:gd name="connsiteY6" fmla="*/ 0 h 725687"/>
              <a:gd name="connsiteX0" fmla="*/ 0 w 1178718"/>
              <a:gd name="connsiteY0" fmla="*/ 0 h 725687"/>
              <a:gd name="connsiteX1" fmla="*/ 1178029 w 1178718"/>
              <a:gd name="connsiteY1" fmla="*/ 1184 h 725687"/>
              <a:gd name="connsiteX2" fmla="*/ 1178520 w 1178718"/>
              <a:gd name="connsiteY2" fmla="*/ 209359 h 725687"/>
              <a:gd name="connsiteX3" fmla="*/ 1059004 w 1178718"/>
              <a:gd name="connsiteY3" fmla="*/ 341512 h 725687"/>
              <a:gd name="connsiteX4" fmla="*/ 91058 w 1178718"/>
              <a:gd name="connsiteY4" fmla="*/ 721513 h 725687"/>
              <a:gd name="connsiteX5" fmla="*/ 3579 w 1178718"/>
              <a:gd name="connsiteY5" fmla="*/ 617365 h 725687"/>
              <a:gd name="connsiteX6" fmla="*/ 0 w 1178718"/>
              <a:gd name="connsiteY6" fmla="*/ 0 h 725687"/>
              <a:gd name="connsiteX0" fmla="*/ 0 w 1178718"/>
              <a:gd name="connsiteY0" fmla="*/ 3283 h 728970"/>
              <a:gd name="connsiteX1" fmla="*/ 1133926 w 1178718"/>
              <a:gd name="connsiteY1" fmla="*/ 0 h 728970"/>
              <a:gd name="connsiteX2" fmla="*/ 1178520 w 1178718"/>
              <a:gd name="connsiteY2" fmla="*/ 212642 h 728970"/>
              <a:gd name="connsiteX3" fmla="*/ 1059004 w 1178718"/>
              <a:gd name="connsiteY3" fmla="*/ 344795 h 728970"/>
              <a:gd name="connsiteX4" fmla="*/ 91058 w 1178718"/>
              <a:gd name="connsiteY4" fmla="*/ 724796 h 728970"/>
              <a:gd name="connsiteX5" fmla="*/ 3579 w 1178718"/>
              <a:gd name="connsiteY5" fmla="*/ 620648 h 728970"/>
              <a:gd name="connsiteX6" fmla="*/ 0 w 1178718"/>
              <a:gd name="connsiteY6" fmla="*/ 3283 h 728970"/>
              <a:gd name="connsiteX0" fmla="*/ 0 w 1164072"/>
              <a:gd name="connsiteY0" fmla="*/ 3283 h 728970"/>
              <a:gd name="connsiteX1" fmla="*/ 1133926 w 1164072"/>
              <a:gd name="connsiteY1" fmla="*/ 0 h 728970"/>
              <a:gd name="connsiteX2" fmla="*/ 1136335 w 1164072"/>
              <a:gd name="connsiteY2" fmla="*/ 212642 h 728970"/>
              <a:gd name="connsiteX3" fmla="*/ 1059004 w 1164072"/>
              <a:gd name="connsiteY3" fmla="*/ 344795 h 728970"/>
              <a:gd name="connsiteX4" fmla="*/ 91058 w 1164072"/>
              <a:gd name="connsiteY4" fmla="*/ 724796 h 728970"/>
              <a:gd name="connsiteX5" fmla="*/ 3579 w 1164072"/>
              <a:gd name="connsiteY5" fmla="*/ 620648 h 728970"/>
              <a:gd name="connsiteX6" fmla="*/ 0 w 1164072"/>
              <a:gd name="connsiteY6" fmla="*/ 3283 h 728970"/>
              <a:gd name="connsiteX0" fmla="*/ 0 w 1137042"/>
              <a:gd name="connsiteY0" fmla="*/ 3283 h 728970"/>
              <a:gd name="connsiteX1" fmla="*/ 1133926 w 1137042"/>
              <a:gd name="connsiteY1" fmla="*/ 0 h 728970"/>
              <a:gd name="connsiteX2" fmla="*/ 1136335 w 1137042"/>
              <a:gd name="connsiteY2" fmla="*/ 212642 h 728970"/>
              <a:gd name="connsiteX3" fmla="*/ 1059004 w 1137042"/>
              <a:gd name="connsiteY3" fmla="*/ 344795 h 728970"/>
              <a:gd name="connsiteX4" fmla="*/ 91058 w 1137042"/>
              <a:gd name="connsiteY4" fmla="*/ 724796 h 728970"/>
              <a:gd name="connsiteX5" fmla="*/ 3579 w 1137042"/>
              <a:gd name="connsiteY5" fmla="*/ 620648 h 728970"/>
              <a:gd name="connsiteX6" fmla="*/ 0 w 1137042"/>
              <a:gd name="connsiteY6" fmla="*/ 3283 h 728970"/>
              <a:gd name="connsiteX0" fmla="*/ 0 w 1139679"/>
              <a:gd name="connsiteY0" fmla="*/ 1050 h 726737"/>
              <a:gd name="connsiteX1" fmla="*/ 1139679 w 1139679"/>
              <a:gd name="connsiteY1" fmla="*/ 0 h 726737"/>
              <a:gd name="connsiteX2" fmla="*/ 1136335 w 1139679"/>
              <a:gd name="connsiteY2" fmla="*/ 210409 h 726737"/>
              <a:gd name="connsiteX3" fmla="*/ 1059004 w 1139679"/>
              <a:gd name="connsiteY3" fmla="*/ 342562 h 726737"/>
              <a:gd name="connsiteX4" fmla="*/ 91058 w 1139679"/>
              <a:gd name="connsiteY4" fmla="*/ 722563 h 726737"/>
              <a:gd name="connsiteX5" fmla="*/ 3579 w 1139679"/>
              <a:gd name="connsiteY5" fmla="*/ 618415 h 726737"/>
              <a:gd name="connsiteX6" fmla="*/ 0 w 1139679"/>
              <a:gd name="connsiteY6" fmla="*/ 1050 h 726737"/>
              <a:gd name="connsiteX0" fmla="*/ 0 w 1167181"/>
              <a:gd name="connsiteY0" fmla="*/ 1050 h 726737"/>
              <a:gd name="connsiteX1" fmla="*/ 1139679 w 1167181"/>
              <a:gd name="connsiteY1" fmla="*/ 0 h 726737"/>
              <a:gd name="connsiteX2" fmla="*/ 1142088 w 1167181"/>
              <a:gd name="connsiteY2" fmla="*/ 212642 h 726737"/>
              <a:gd name="connsiteX3" fmla="*/ 1059004 w 1167181"/>
              <a:gd name="connsiteY3" fmla="*/ 342562 h 726737"/>
              <a:gd name="connsiteX4" fmla="*/ 91058 w 1167181"/>
              <a:gd name="connsiteY4" fmla="*/ 722563 h 726737"/>
              <a:gd name="connsiteX5" fmla="*/ 3579 w 1167181"/>
              <a:gd name="connsiteY5" fmla="*/ 618415 h 726737"/>
              <a:gd name="connsiteX6" fmla="*/ 0 w 1167181"/>
              <a:gd name="connsiteY6" fmla="*/ 1050 h 726737"/>
              <a:gd name="connsiteX0" fmla="*/ 0 w 1142378"/>
              <a:gd name="connsiteY0" fmla="*/ 1050 h 726737"/>
              <a:gd name="connsiteX1" fmla="*/ 1139679 w 1142378"/>
              <a:gd name="connsiteY1" fmla="*/ 0 h 726737"/>
              <a:gd name="connsiteX2" fmla="*/ 1142088 w 1142378"/>
              <a:gd name="connsiteY2" fmla="*/ 212642 h 726737"/>
              <a:gd name="connsiteX3" fmla="*/ 1059004 w 1142378"/>
              <a:gd name="connsiteY3" fmla="*/ 342562 h 726737"/>
              <a:gd name="connsiteX4" fmla="*/ 91058 w 1142378"/>
              <a:gd name="connsiteY4" fmla="*/ 722563 h 726737"/>
              <a:gd name="connsiteX5" fmla="*/ 3579 w 1142378"/>
              <a:gd name="connsiteY5" fmla="*/ 618415 h 726737"/>
              <a:gd name="connsiteX6" fmla="*/ 0 w 1142378"/>
              <a:gd name="connsiteY6" fmla="*/ 1050 h 726737"/>
              <a:gd name="connsiteX0" fmla="*/ 0 w 1166132"/>
              <a:gd name="connsiteY0" fmla="*/ 1050 h 726737"/>
              <a:gd name="connsiteX1" fmla="*/ 1139679 w 1166132"/>
              <a:gd name="connsiteY1" fmla="*/ 0 h 726737"/>
              <a:gd name="connsiteX2" fmla="*/ 1140171 w 1166132"/>
              <a:gd name="connsiteY2" fmla="*/ 210408 h 726737"/>
              <a:gd name="connsiteX3" fmla="*/ 1059004 w 1166132"/>
              <a:gd name="connsiteY3" fmla="*/ 342562 h 726737"/>
              <a:gd name="connsiteX4" fmla="*/ 91058 w 1166132"/>
              <a:gd name="connsiteY4" fmla="*/ 722563 h 726737"/>
              <a:gd name="connsiteX5" fmla="*/ 3579 w 1166132"/>
              <a:gd name="connsiteY5" fmla="*/ 618415 h 726737"/>
              <a:gd name="connsiteX6" fmla="*/ 0 w 1166132"/>
              <a:gd name="connsiteY6" fmla="*/ 1050 h 726737"/>
              <a:gd name="connsiteX0" fmla="*/ 0 w 1166132"/>
              <a:gd name="connsiteY0" fmla="*/ 1050 h 726737"/>
              <a:gd name="connsiteX1" fmla="*/ 1139679 w 1166132"/>
              <a:gd name="connsiteY1" fmla="*/ 0 h 726737"/>
              <a:gd name="connsiteX2" fmla="*/ 1140171 w 1166132"/>
              <a:gd name="connsiteY2" fmla="*/ 210408 h 726737"/>
              <a:gd name="connsiteX3" fmla="*/ 1059004 w 1166132"/>
              <a:gd name="connsiteY3" fmla="*/ 342562 h 726737"/>
              <a:gd name="connsiteX4" fmla="*/ 91058 w 1166132"/>
              <a:gd name="connsiteY4" fmla="*/ 722563 h 726737"/>
              <a:gd name="connsiteX5" fmla="*/ 3579 w 1166132"/>
              <a:gd name="connsiteY5" fmla="*/ 618415 h 726737"/>
              <a:gd name="connsiteX6" fmla="*/ 0 w 1166132"/>
              <a:gd name="connsiteY6" fmla="*/ 1050 h 726737"/>
              <a:gd name="connsiteX0" fmla="*/ 0 w 1140577"/>
              <a:gd name="connsiteY0" fmla="*/ 1050 h 726737"/>
              <a:gd name="connsiteX1" fmla="*/ 1139679 w 1140577"/>
              <a:gd name="connsiteY1" fmla="*/ 0 h 726737"/>
              <a:gd name="connsiteX2" fmla="*/ 1140171 w 1140577"/>
              <a:gd name="connsiteY2" fmla="*/ 210408 h 726737"/>
              <a:gd name="connsiteX3" fmla="*/ 1059004 w 1140577"/>
              <a:gd name="connsiteY3" fmla="*/ 342562 h 726737"/>
              <a:gd name="connsiteX4" fmla="*/ 91058 w 1140577"/>
              <a:gd name="connsiteY4" fmla="*/ 722563 h 726737"/>
              <a:gd name="connsiteX5" fmla="*/ 3579 w 1140577"/>
              <a:gd name="connsiteY5" fmla="*/ 618415 h 726737"/>
              <a:gd name="connsiteX6" fmla="*/ 0 w 1140577"/>
              <a:gd name="connsiteY6" fmla="*/ 1050 h 726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40577" h="726737">
                <a:moveTo>
                  <a:pt x="0" y="1050"/>
                </a:moveTo>
                <a:lnTo>
                  <a:pt x="1139679" y="0"/>
                </a:lnTo>
                <a:cubicBezTo>
                  <a:pt x="1135765" y="145563"/>
                  <a:pt x="1141173" y="156792"/>
                  <a:pt x="1140171" y="210408"/>
                </a:cubicBezTo>
                <a:cubicBezTo>
                  <a:pt x="1142633" y="265243"/>
                  <a:pt x="1136064" y="304105"/>
                  <a:pt x="1059004" y="342562"/>
                </a:cubicBezTo>
                <a:cubicBezTo>
                  <a:pt x="884905" y="429447"/>
                  <a:pt x="407027" y="633832"/>
                  <a:pt x="91058" y="722563"/>
                </a:cubicBezTo>
                <a:cubicBezTo>
                  <a:pt x="44398" y="735666"/>
                  <a:pt x="6877" y="722310"/>
                  <a:pt x="3579" y="618415"/>
                </a:cubicBezTo>
                <a:cubicBezTo>
                  <a:pt x="281" y="514520"/>
                  <a:pt x="1507" y="273144"/>
                  <a:pt x="0" y="1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lIns="251953" tIns="140374" rIns="215960" bIns="93583">
            <a:noAutofit/>
          </a:bodyPr>
          <a:lstStyle>
            <a:lvl1pPr marL="0" indent="0">
              <a:spcBef>
                <a:spcPts val="1800"/>
              </a:spcBef>
              <a:buFontTx/>
              <a:buNone/>
              <a:defRPr b="0" i="0">
                <a:solidFill>
                  <a:schemeClr val="bg1"/>
                </a:solidFill>
                <a:latin typeface="Univers 45 Light"/>
                <a:cs typeface="Univers 45 Light"/>
              </a:defRPr>
            </a:lvl1pPr>
            <a:lvl2pPr marL="457116" indent="0">
              <a:buFontTx/>
              <a:buNone/>
              <a:defRPr/>
            </a:lvl2pPr>
            <a:lvl3pPr marL="914231" indent="0">
              <a:buFontTx/>
              <a:buNone/>
              <a:defRPr/>
            </a:lvl3pPr>
            <a:lvl4pPr marL="1263417" indent="0">
              <a:buFontTx/>
              <a:buNone/>
              <a:defRPr/>
            </a:lvl4pPr>
            <a:lvl5pPr marL="1599906" indent="0">
              <a:buFontTx/>
              <a:buNone/>
              <a:defRPr/>
            </a:lvl5pPr>
          </a:lstStyle>
          <a:p>
            <a:pPr lvl="0"/>
            <a:r>
              <a:rPr lang="es-ES_tradnl" dirty="0"/>
              <a:t>Escriba el texto</a:t>
            </a:r>
            <a:endParaRPr lang="es-ES" dirty="0"/>
          </a:p>
        </p:txBody>
      </p:sp>
      <p:sp>
        <p:nvSpPr>
          <p:cNvPr id="10" name="Marcador de texto 4"/>
          <p:cNvSpPr>
            <a:spLocks noGrp="1"/>
          </p:cNvSpPr>
          <p:nvPr>
            <p:ph type="body" sz="quarter" idx="17" hasCustomPrompt="1"/>
          </p:nvPr>
        </p:nvSpPr>
        <p:spPr>
          <a:xfrm>
            <a:off x="1636713" y="425606"/>
            <a:ext cx="3033248" cy="1857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00" b="0" i="0" kern="300" spc="50" baseline="0">
                <a:solidFill>
                  <a:schemeClr val="tx2"/>
                </a:solidFill>
                <a:latin typeface="Univers 75 Black"/>
                <a:cs typeface="Univers 75 Black"/>
              </a:defRPr>
            </a:lvl1pPr>
            <a:lvl2pPr marL="0" indent="0">
              <a:spcBef>
                <a:spcPts val="400"/>
              </a:spcBef>
              <a:buFontTx/>
              <a:buNone/>
              <a:defRPr sz="900" kern="500" spc="50">
                <a:solidFill>
                  <a:schemeClr val="tx2"/>
                </a:solidFill>
              </a:defRPr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s-ES_tradnl" dirty="0"/>
              <a:t>NIVEL 1</a:t>
            </a:r>
            <a:endParaRPr lang="es-ES" dirty="0"/>
          </a:p>
        </p:txBody>
      </p:sp>
      <p:sp>
        <p:nvSpPr>
          <p:cNvPr id="11" name="Marcador de texto 4"/>
          <p:cNvSpPr>
            <a:spLocks noGrp="1"/>
          </p:cNvSpPr>
          <p:nvPr>
            <p:ph type="body" sz="quarter" idx="19" hasCustomPrompt="1"/>
          </p:nvPr>
        </p:nvSpPr>
        <p:spPr>
          <a:xfrm>
            <a:off x="1290469" y="195977"/>
            <a:ext cx="346244" cy="4130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FontTx/>
              <a:buNone/>
              <a:defRPr sz="2800" b="0" i="0" kern="300" spc="50" baseline="0">
                <a:solidFill>
                  <a:schemeClr val="tx2"/>
                </a:solidFill>
                <a:latin typeface="Univers 57 Condensed"/>
                <a:cs typeface="Univers 57 Condensed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900" kern="500" spc="50">
                <a:solidFill>
                  <a:schemeClr val="tx2"/>
                </a:solidFill>
              </a:defRPr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s-ES_tradnl" dirty="0"/>
              <a:t>N</a:t>
            </a:r>
            <a:endParaRPr lang="es-ES" dirty="0"/>
          </a:p>
        </p:txBody>
      </p:sp>
      <p:sp>
        <p:nvSpPr>
          <p:cNvPr id="12" name="Marcador de texto 10"/>
          <p:cNvSpPr>
            <a:spLocks noGrp="1"/>
          </p:cNvSpPr>
          <p:nvPr>
            <p:ph type="body" sz="quarter" idx="22" hasCustomPrompt="1"/>
          </p:nvPr>
        </p:nvSpPr>
        <p:spPr>
          <a:xfrm>
            <a:off x="1636713" y="603741"/>
            <a:ext cx="3033248" cy="1770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_tradnl" dirty="0"/>
              <a:t>NIVEL 2</a:t>
            </a:r>
            <a:endParaRPr lang="es-ES" dirty="0"/>
          </a:p>
        </p:txBody>
      </p:sp>
      <p:sp>
        <p:nvSpPr>
          <p:cNvPr id="13" name="Marcador de texto 10"/>
          <p:cNvSpPr>
            <a:spLocks noGrp="1"/>
          </p:cNvSpPr>
          <p:nvPr>
            <p:ph type="body" sz="quarter" idx="23" hasCustomPrompt="1"/>
          </p:nvPr>
        </p:nvSpPr>
        <p:spPr>
          <a:xfrm>
            <a:off x="1290469" y="603741"/>
            <a:ext cx="346244" cy="1770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_tradnl" dirty="0"/>
              <a:t>N</a:t>
            </a:r>
            <a:endParaRPr lang="es-ES" dirty="0"/>
          </a:p>
        </p:txBody>
      </p:sp>
      <p:sp>
        <p:nvSpPr>
          <p:cNvPr id="18" name="Marcador de texto 17"/>
          <p:cNvSpPr>
            <a:spLocks noGrp="1"/>
          </p:cNvSpPr>
          <p:nvPr>
            <p:ph type="body" sz="quarter" idx="26" hasCustomPrompt="1"/>
          </p:nvPr>
        </p:nvSpPr>
        <p:spPr>
          <a:xfrm>
            <a:off x="1333927" y="2984500"/>
            <a:ext cx="3387516" cy="13779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vert="horz" lIns="251953" tIns="140374" rIns="215960" bIns="45711"/>
          <a:lstStyle>
            <a:lvl1pPr marL="0" indent="0">
              <a:buFontTx/>
              <a:buNone/>
              <a:defRPr b="0" i="0" baseline="0">
                <a:solidFill>
                  <a:schemeClr val="bg1"/>
                </a:solidFill>
                <a:latin typeface="Univers 45 Light"/>
                <a:cs typeface="Univers 45 Light"/>
              </a:defRPr>
            </a:lvl1pPr>
          </a:lstStyle>
          <a:p>
            <a:pPr lvl="0"/>
            <a:r>
              <a:rPr lang="es-ES_tradnl" dirty="0"/>
              <a:t>Escriba el texto</a:t>
            </a:r>
            <a:endParaRPr lang="es-ES" dirty="0"/>
          </a:p>
        </p:txBody>
      </p:sp>
      <p:sp>
        <p:nvSpPr>
          <p:cNvPr id="21" name="Marcador de texto 4"/>
          <p:cNvSpPr>
            <a:spLocks noGrp="1"/>
          </p:cNvSpPr>
          <p:nvPr>
            <p:ph type="body" sz="quarter" idx="27" hasCustomPrompt="1"/>
          </p:nvPr>
        </p:nvSpPr>
        <p:spPr>
          <a:xfrm>
            <a:off x="5076056" y="4614355"/>
            <a:ext cx="3387516" cy="1853054"/>
          </a:xfrm>
          <a:custGeom>
            <a:avLst/>
            <a:gdLst>
              <a:gd name="connsiteX0" fmla="*/ 0 w 1152525"/>
              <a:gd name="connsiteY0" fmla="*/ 0 h 1295400"/>
              <a:gd name="connsiteX1" fmla="*/ 1152525 w 1152525"/>
              <a:gd name="connsiteY1" fmla="*/ 0 h 1295400"/>
              <a:gd name="connsiteX2" fmla="*/ 1152525 w 1152525"/>
              <a:gd name="connsiteY2" fmla="*/ 1295400 h 1295400"/>
              <a:gd name="connsiteX3" fmla="*/ 0 w 1152525"/>
              <a:gd name="connsiteY3" fmla="*/ 1295400 h 1295400"/>
              <a:gd name="connsiteX4" fmla="*/ 0 w 1152525"/>
              <a:gd name="connsiteY4" fmla="*/ 0 h 1295400"/>
              <a:gd name="connsiteX0" fmla="*/ 0 w 1165225"/>
              <a:gd name="connsiteY0" fmla="*/ 0 h 1295400"/>
              <a:gd name="connsiteX1" fmla="*/ 1152525 w 1165225"/>
              <a:gd name="connsiteY1" fmla="*/ 0 h 1295400"/>
              <a:gd name="connsiteX2" fmla="*/ 1165225 w 1165225"/>
              <a:gd name="connsiteY2" fmla="*/ 838200 h 1295400"/>
              <a:gd name="connsiteX3" fmla="*/ 0 w 1165225"/>
              <a:gd name="connsiteY3" fmla="*/ 1295400 h 1295400"/>
              <a:gd name="connsiteX4" fmla="*/ 0 w 1165225"/>
              <a:gd name="connsiteY4" fmla="*/ 0 h 1295400"/>
              <a:gd name="connsiteX0" fmla="*/ 9509 w 1174734"/>
              <a:gd name="connsiteY0" fmla="*/ 0 h 1421663"/>
              <a:gd name="connsiteX1" fmla="*/ 1162034 w 1174734"/>
              <a:gd name="connsiteY1" fmla="*/ 0 h 1421663"/>
              <a:gd name="connsiteX2" fmla="*/ 1174734 w 1174734"/>
              <a:gd name="connsiteY2" fmla="*/ 838200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4734"/>
              <a:gd name="connsiteY0" fmla="*/ 0 h 1421663"/>
              <a:gd name="connsiteX1" fmla="*/ 1162034 w 1174734"/>
              <a:gd name="connsiteY1" fmla="*/ 0 h 1421663"/>
              <a:gd name="connsiteX2" fmla="*/ 1174734 w 1174734"/>
              <a:gd name="connsiteY2" fmla="*/ 1010981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4734"/>
              <a:gd name="connsiteY0" fmla="*/ 0 h 1421663"/>
              <a:gd name="connsiteX1" fmla="*/ 1169641 w 1174734"/>
              <a:gd name="connsiteY1" fmla="*/ 0 h 1421663"/>
              <a:gd name="connsiteX2" fmla="*/ 1174734 w 1174734"/>
              <a:gd name="connsiteY2" fmla="*/ 1010981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5774"/>
              <a:gd name="connsiteY0" fmla="*/ 2215 h 1423878"/>
              <a:gd name="connsiteX1" fmla="*/ 1175346 w 1175774"/>
              <a:gd name="connsiteY1" fmla="*/ 0 h 1423878"/>
              <a:gd name="connsiteX2" fmla="*/ 1174734 w 1175774"/>
              <a:gd name="connsiteY2" fmla="*/ 1013196 h 1423878"/>
              <a:gd name="connsiteX3" fmla="*/ 0 w 1175774"/>
              <a:gd name="connsiteY3" fmla="*/ 1423878 h 1423878"/>
              <a:gd name="connsiteX4" fmla="*/ 9509 w 1175774"/>
              <a:gd name="connsiteY4" fmla="*/ 2215 h 1423878"/>
              <a:gd name="connsiteX0" fmla="*/ 5706 w 1171971"/>
              <a:gd name="connsiteY0" fmla="*/ 2215 h 1421663"/>
              <a:gd name="connsiteX1" fmla="*/ 1171543 w 1171971"/>
              <a:gd name="connsiteY1" fmla="*/ 0 h 1421663"/>
              <a:gd name="connsiteX2" fmla="*/ 1170931 w 1171971"/>
              <a:gd name="connsiteY2" fmla="*/ 1013196 h 1421663"/>
              <a:gd name="connsiteX3" fmla="*/ 0 w 1171971"/>
              <a:gd name="connsiteY3" fmla="*/ 1421663 h 1421663"/>
              <a:gd name="connsiteX4" fmla="*/ 5706 w 1171971"/>
              <a:gd name="connsiteY4" fmla="*/ 2215 h 1421663"/>
              <a:gd name="connsiteX0" fmla="*/ 916 w 1167181"/>
              <a:gd name="connsiteY0" fmla="*/ 2215 h 1417233"/>
              <a:gd name="connsiteX1" fmla="*/ 1166753 w 1167181"/>
              <a:gd name="connsiteY1" fmla="*/ 0 h 1417233"/>
              <a:gd name="connsiteX2" fmla="*/ 1166141 w 1167181"/>
              <a:gd name="connsiteY2" fmla="*/ 1013196 h 1417233"/>
              <a:gd name="connsiteX3" fmla="*/ 915 w 1167181"/>
              <a:gd name="connsiteY3" fmla="*/ 1417233 h 1417233"/>
              <a:gd name="connsiteX4" fmla="*/ 916 w 1167181"/>
              <a:gd name="connsiteY4" fmla="*/ 2215 h 1417233"/>
              <a:gd name="connsiteX0" fmla="*/ 916 w 1167181"/>
              <a:gd name="connsiteY0" fmla="*/ 2215 h 1403942"/>
              <a:gd name="connsiteX1" fmla="*/ 1166753 w 1167181"/>
              <a:gd name="connsiteY1" fmla="*/ 0 h 1403942"/>
              <a:gd name="connsiteX2" fmla="*/ 1166141 w 1167181"/>
              <a:gd name="connsiteY2" fmla="*/ 1013196 h 1403942"/>
              <a:gd name="connsiteX3" fmla="*/ 915 w 1167181"/>
              <a:gd name="connsiteY3" fmla="*/ 1403942 h 1403942"/>
              <a:gd name="connsiteX4" fmla="*/ 916 w 1167181"/>
              <a:gd name="connsiteY4" fmla="*/ 2215 h 1403942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86483 w 1252749"/>
              <a:gd name="connsiteY3" fmla="*/ 1403942 h 1438510"/>
              <a:gd name="connsiteX4" fmla="*/ 86104 w 1252749"/>
              <a:gd name="connsiteY4" fmla="*/ 1260419 h 1438510"/>
              <a:gd name="connsiteX5" fmla="*/ 86484 w 1252749"/>
              <a:gd name="connsiteY5" fmla="*/ 2215 h 1438510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177386 w 1252749"/>
              <a:gd name="connsiteY3" fmla="*/ 1373391 h 1438510"/>
              <a:gd name="connsiteX4" fmla="*/ 86483 w 1252749"/>
              <a:gd name="connsiteY4" fmla="*/ 1403942 h 1438510"/>
              <a:gd name="connsiteX5" fmla="*/ 86104 w 1252749"/>
              <a:gd name="connsiteY5" fmla="*/ 1260419 h 1438510"/>
              <a:gd name="connsiteX6" fmla="*/ 86484 w 1252749"/>
              <a:gd name="connsiteY6" fmla="*/ 2215 h 1438510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1154863 w 1252749"/>
              <a:gd name="connsiteY3" fmla="*/ 1041119 h 1438510"/>
              <a:gd name="connsiteX4" fmla="*/ 177386 w 1252749"/>
              <a:gd name="connsiteY4" fmla="*/ 1373391 h 1438510"/>
              <a:gd name="connsiteX5" fmla="*/ 86483 w 1252749"/>
              <a:gd name="connsiteY5" fmla="*/ 1403942 h 1438510"/>
              <a:gd name="connsiteX6" fmla="*/ 86104 w 1252749"/>
              <a:gd name="connsiteY6" fmla="*/ 1260419 h 1438510"/>
              <a:gd name="connsiteX7" fmla="*/ 86484 w 1252749"/>
              <a:gd name="connsiteY7" fmla="*/ 2215 h 1438510"/>
              <a:gd name="connsiteX0" fmla="*/ 86484 w 1337915"/>
              <a:gd name="connsiteY0" fmla="*/ 2215 h 1438510"/>
              <a:gd name="connsiteX1" fmla="*/ 1252321 w 1337915"/>
              <a:gd name="connsiteY1" fmla="*/ 0 h 1438510"/>
              <a:gd name="connsiteX2" fmla="*/ 1249949 w 1337915"/>
              <a:gd name="connsiteY2" fmla="*/ 894920 h 1438510"/>
              <a:gd name="connsiteX3" fmla="*/ 1251709 w 1337915"/>
              <a:gd name="connsiteY3" fmla="*/ 1013196 h 1438510"/>
              <a:gd name="connsiteX4" fmla="*/ 1154863 w 1337915"/>
              <a:gd name="connsiteY4" fmla="*/ 1041119 h 1438510"/>
              <a:gd name="connsiteX5" fmla="*/ 177386 w 1337915"/>
              <a:gd name="connsiteY5" fmla="*/ 1373391 h 1438510"/>
              <a:gd name="connsiteX6" fmla="*/ 86483 w 1337915"/>
              <a:gd name="connsiteY6" fmla="*/ 1403942 h 1438510"/>
              <a:gd name="connsiteX7" fmla="*/ 86104 w 1337915"/>
              <a:gd name="connsiteY7" fmla="*/ 1260419 h 1438510"/>
              <a:gd name="connsiteX8" fmla="*/ 86484 w 1337915"/>
              <a:gd name="connsiteY8" fmla="*/ 2215 h 1438510"/>
              <a:gd name="connsiteX0" fmla="*/ 86484 w 1341572"/>
              <a:gd name="connsiteY0" fmla="*/ 2215 h 1438510"/>
              <a:gd name="connsiteX1" fmla="*/ 1252321 w 1341572"/>
              <a:gd name="connsiteY1" fmla="*/ 0 h 1438510"/>
              <a:gd name="connsiteX2" fmla="*/ 1249949 w 1341572"/>
              <a:gd name="connsiteY2" fmla="*/ 894920 h 1438510"/>
              <a:gd name="connsiteX3" fmla="*/ 1154863 w 1341572"/>
              <a:gd name="connsiteY3" fmla="*/ 1041119 h 1438510"/>
              <a:gd name="connsiteX4" fmla="*/ 177386 w 1341572"/>
              <a:gd name="connsiteY4" fmla="*/ 1373391 h 1438510"/>
              <a:gd name="connsiteX5" fmla="*/ 86483 w 1341572"/>
              <a:gd name="connsiteY5" fmla="*/ 1403942 h 1438510"/>
              <a:gd name="connsiteX6" fmla="*/ 86104 w 1341572"/>
              <a:gd name="connsiteY6" fmla="*/ 1260419 h 1438510"/>
              <a:gd name="connsiteX7" fmla="*/ 86484 w 1341572"/>
              <a:gd name="connsiteY7" fmla="*/ 2215 h 1438510"/>
              <a:gd name="connsiteX0" fmla="*/ 86484 w 1341572"/>
              <a:gd name="connsiteY0" fmla="*/ 2215 h 1373391"/>
              <a:gd name="connsiteX1" fmla="*/ 1252321 w 1341572"/>
              <a:gd name="connsiteY1" fmla="*/ 0 h 1373391"/>
              <a:gd name="connsiteX2" fmla="*/ 1249949 w 1341572"/>
              <a:gd name="connsiteY2" fmla="*/ 894920 h 1373391"/>
              <a:gd name="connsiteX3" fmla="*/ 1154863 w 1341572"/>
              <a:gd name="connsiteY3" fmla="*/ 1041119 h 1373391"/>
              <a:gd name="connsiteX4" fmla="*/ 177386 w 1341572"/>
              <a:gd name="connsiteY4" fmla="*/ 1373391 h 1373391"/>
              <a:gd name="connsiteX5" fmla="*/ 86104 w 1341572"/>
              <a:gd name="connsiteY5" fmla="*/ 1260419 h 1373391"/>
              <a:gd name="connsiteX6" fmla="*/ 86484 w 1341572"/>
              <a:gd name="connsiteY6" fmla="*/ 2215 h 1373391"/>
              <a:gd name="connsiteX0" fmla="*/ 86484 w 1341572"/>
              <a:gd name="connsiteY0" fmla="*/ 2215 h 1380291"/>
              <a:gd name="connsiteX1" fmla="*/ 1252321 w 1341572"/>
              <a:gd name="connsiteY1" fmla="*/ 0 h 1380291"/>
              <a:gd name="connsiteX2" fmla="*/ 1249949 w 1341572"/>
              <a:gd name="connsiteY2" fmla="*/ 894920 h 1380291"/>
              <a:gd name="connsiteX3" fmla="*/ 1154863 w 1341572"/>
              <a:gd name="connsiteY3" fmla="*/ 1041119 h 1380291"/>
              <a:gd name="connsiteX4" fmla="*/ 177386 w 1341572"/>
              <a:gd name="connsiteY4" fmla="*/ 1373391 h 1380291"/>
              <a:gd name="connsiteX5" fmla="*/ 86104 w 1341572"/>
              <a:gd name="connsiteY5" fmla="*/ 1260419 h 1380291"/>
              <a:gd name="connsiteX6" fmla="*/ 86484 w 1341572"/>
              <a:gd name="connsiteY6" fmla="*/ 2215 h 1380291"/>
              <a:gd name="connsiteX0" fmla="*/ 86484 w 1341572"/>
              <a:gd name="connsiteY0" fmla="*/ 2215 h 1425606"/>
              <a:gd name="connsiteX1" fmla="*/ 1252321 w 1341572"/>
              <a:gd name="connsiteY1" fmla="*/ 0 h 1425606"/>
              <a:gd name="connsiteX2" fmla="*/ 1249949 w 1341572"/>
              <a:gd name="connsiteY2" fmla="*/ 894920 h 1425606"/>
              <a:gd name="connsiteX3" fmla="*/ 1154863 w 1341572"/>
              <a:gd name="connsiteY3" fmla="*/ 1041119 h 1425606"/>
              <a:gd name="connsiteX4" fmla="*/ 177386 w 1341572"/>
              <a:gd name="connsiteY4" fmla="*/ 1373391 h 1425606"/>
              <a:gd name="connsiteX5" fmla="*/ 86104 w 1341572"/>
              <a:gd name="connsiteY5" fmla="*/ 1260419 h 1425606"/>
              <a:gd name="connsiteX6" fmla="*/ 86484 w 1341572"/>
              <a:gd name="connsiteY6" fmla="*/ 2215 h 1425606"/>
              <a:gd name="connsiteX0" fmla="*/ 86484 w 1341572"/>
              <a:gd name="connsiteY0" fmla="*/ 2215 h 1410556"/>
              <a:gd name="connsiteX1" fmla="*/ 1252321 w 1341572"/>
              <a:gd name="connsiteY1" fmla="*/ 0 h 1410556"/>
              <a:gd name="connsiteX2" fmla="*/ 1249949 w 1341572"/>
              <a:gd name="connsiteY2" fmla="*/ 894920 h 1410556"/>
              <a:gd name="connsiteX3" fmla="*/ 1154863 w 1341572"/>
              <a:gd name="connsiteY3" fmla="*/ 1041119 h 1410556"/>
              <a:gd name="connsiteX4" fmla="*/ 177386 w 1341572"/>
              <a:gd name="connsiteY4" fmla="*/ 1373391 h 1410556"/>
              <a:gd name="connsiteX5" fmla="*/ 86104 w 1341572"/>
              <a:gd name="connsiteY5" fmla="*/ 1260419 h 1410556"/>
              <a:gd name="connsiteX6" fmla="*/ 86484 w 1341572"/>
              <a:gd name="connsiteY6" fmla="*/ 2215 h 1410556"/>
              <a:gd name="connsiteX0" fmla="*/ 86484 w 1341572"/>
              <a:gd name="connsiteY0" fmla="*/ 2215 h 1416904"/>
              <a:gd name="connsiteX1" fmla="*/ 1252321 w 1341572"/>
              <a:gd name="connsiteY1" fmla="*/ 0 h 1416904"/>
              <a:gd name="connsiteX2" fmla="*/ 1249949 w 1341572"/>
              <a:gd name="connsiteY2" fmla="*/ 894920 h 1416904"/>
              <a:gd name="connsiteX3" fmla="*/ 1154863 w 1341572"/>
              <a:gd name="connsiteY3" fmla="*/ 1041119 h 1416904"/>
              <a:gd name="connsiteX4" fmla="*/ 177386 w 1341572"/>
              <a:gd name="connsiteY4" fmla="*/ 1373391 h 1416904"/>
              <a:gd name="connsiteX5" fmla="*/ 86104 w 1341572"/>
              <a:gd name="connsiteY5" fmla="*/ 1260419 h 1416904"/>
              <a:gd name="connsiteX6" fmla="*/ 86484 w 1341572"/>
              <a:gd name="connsiteY6" fmla="*/ 2215 h 1416904"/>
              <a:gd name="connsiteX0" fmla="*/ 86484 w 1341572"/>
              <a:gd name="connsiteY0" fmla="*/ 2215 h 1383845"/>
              <a:gd name="connsiteX1" fmla="*/ 1252321 w 1341572"/>
              <a:gd name="connsiteY1" fmla="*/ 0 h 1383845"/>
              <a:gd name="connsiteX2" fmla="*/ 1249949 w 1341572"/>
              <a:gd name="connsiteY2" fmla="*/ 894920 h 1383845"/>
              <a:gd name="connsiteX3" fmla="*/ 1154863 w 1341572"/>
              <a:gd name="connsiteY3" fmla="*/ 1041119 h 1383845"/>
              <a:gd name="connsiteX4" fmla="*/ 177386 w 1341572"/>
              <a:gd name="connsiteY4" fmla="*/ 1373391 h 1383845"/>
              <a:gd name="connsiteX5" fmla="*/ 86104 w 1341572"/>
              <a:gd name="connsiteY5" fmla="*/ 1260419 h 1383845"/>
              <a:gd name="connsiteX6" fmla="*/ 86484 w 1341572"/>
              <a:gd name="connsiteY6" fmla="*/ 2215 h 1383845"/>
              <a:gd name="connsiteX0" fmla="*/ 86484 w 1341572"/>
              <a:gd name="connsiteY0" fmla="*/ 2215 h 1375531"/>
              <a:gd name="connsiteX1" fmla="*/ 1252321 w 1341572"/>
              <a:gd name="connsiteY1" fmla="*/ 0 h 1375531"/>
              <a:gd name="connsiteX2" fmla="*/ 1249949 w 1341572"/>
              <a:gd name="connsiteY2" fmla="*/ 894920 h 1375531"/>
              <a:gd name="connsiteX3" fmla="*/ 1154863 w 1341572"/>
              <a:gd name="connsiteY3" fmla="*/ 1041119 h 1375531"/>
              <a:gd name="connsiteX4" fmla="*/ 177386 w 1341572"/>
              <a:gd name="connsiteY4" fmla="*/ 1373391 h 1375531"/>
              <a:gd name="connsiteX5" fmla="*/ 86104 w 1341572"/>
              <a:gd name="connsiteY5" fmla="*/ 1260419 h 1375531"/>
              <a:gd name="connsiteX6" fmla="*/ 86484 w 1341572"/>
              <a:gd name="connsiteY6" fmla="*/ 2215 h 1375531"/>
              <a:gd name="connsiteX0" fmla="*/ 86484 w 1341572"/>
              <a:gd name="connsiteY0" fmla="*/ 2215 h 1375531"/>
              <a:gd name="connsiteX1" fmla="*/ 1252321 w 1341572"/>
              <a:gd name="connsiteY1" fmla="*/ 0 h 1375531"/>
              <a:gd name="connsiteX2" fmla="*/ 1249949 w 1341572"/>
              <a:gd name="connsiteY2" fmla="*/ 894920 h 1375531"/>
              <a:gd name="connsiteX3" fmla="*/ 1154863 w 1341572"/>
              <a:gd name="connsiteY3" fmla="*/ 1041119 h 1375531"/>
              <a:gd name="connsiteX4" fmla="*/ 177386 w 1341572"/>
              <a:gd name="connsiteY4" fmla="*/ 1373391 h 1375531"/>
              <a:gd name="connsiteX5" fmla="*/ 86104 w 1341572"/>
              <a:gd name="connsiteY5" fmla="*/ 1260419 h 1375531"/>
              <a:gd name="connsiteX6" fmla="*/ 86484 w 1341572"/>
              <a:gd name="connsiteY6" fmla="*/ 2215 h 1375531"/>
              <a:gd name="connsiteX0" fmla="*/ 380 w 1255468"/>
              <a:gd name="connsiteY0" fmla="*/ 2215 h 1375531"/>
              <a:gd name="connsiteX1" fmla="*/ 1166217 w 1255468"/>
              <a:gd name="connsiteY1" fmla="*/ 0 h 1375531"/>
              <a:gd name="connsiteX2" fmla="*/ 1163845 w 1255468"/>
              <a:gd name="connsiteY2" fmla="*/ 894920 h 1375531"/>
              <a:gd name="connsiteX3" fmla="*/ 1068759 w 1255468"/>
              <a:gd name="connsiteY3" fmla="*/ 1041119 h 1375531"/>
              <a:gd name="connsiteX4" fmla="*/ 91282 w 1255468"/>
              <a:gd name="connsiteY4" fmla="*/ 1373391 h 1375531"/>
              <a:gd name="connsiteX5" fmla="*/ 0 w 1255468"/>
              <a:gd name="connsiteY5" fmla="*/ 1260419 h 1375531"/>
              <a:gd name="connsiteX6" fmla="*/ 380 w 1255468"/>
              <a:gd name="connsiteY6" fmla="*/ 2215 h 1375531"/>
              <a:gd name="connsiteX0" fmla="*/ 380 w 1177259"/>
              <a:gd name="connsiteY0" fmla="*/ 2215 h 1375531"/>
              <a:gd name="connsiteX1" fmla="*/ 1166217 w 1177259"/>
              <a:gd name="connsiteY1" fmla="*/ 0 h 1375531"/>
              <a:gd name="connsiteX2" fmla="*/ 1163845 w 1177259"/>
              <a:gd name="connsiteY2" fmla="*/ 894920 h 1375531"/>
              <a:gd name="connsiteX3" fmla="*/ 1068759 w 1177259"/>
              <a:gd name="connsiteY3" fmla="*/ 1041119 h 1375531"/>
              <a:gd name="connsiteX4" fmla="*/ 91282 w 1177259"/>
              <a:gd name="connsiteY4" fmla="*/ 1373391 h 1375531"/>
              <a:gd name="connsiteX5" fmla="*/ 0 w 1177259"/>
              <a:gd name="connsiteY5" fmla="*/ 1260419 h 1375531"/>
              <a:gd name="connsiteX6" fmla="*/ 380 w 1177259"/>
              <a:gd name="connsiteY6" fmla="*/ 2215 h 1375531"/>
              <a:gd name="connsiteX0" fmla="*/ 380 w 1190511"/>
              <a:gd name="connsiteY0" fmla="*/ 2215 h 1375531"/>
              <a:gd name="connsiteX1" fmla="*/ 1166217 w 1190511"/>
              <a:gd name="connsiteY1" fmla="*/ 0 h 1375531"/>
              <a:gd name="connsiteX2" fmla="*/ 1163845 w 1190511"/>
              <a:gd name="connsiteY2" fmla="*/ 894920 h 1375531"/>
              <a:gd name="connsiteX3" fmla="*/ 1068759 w 1190511"/>
              <a:gd name="connsiteY3" fmla="*/ 1041119 h 1375531"/>
              <a:gd name="connsiteX4" fmla="*/ 91282 w 1190511"/>
              <a:gd name="connsiteY4" fmla="*/ 1373391 h 1375531"/>
              <a:gd name="connsiteX5" fmla="*/ 0 w 1190511"/>
              <a:gd name="connsiteY5" fmla="*/ 1260419 h 1375531"/>
              <a:gd name="connsiteX6" fmla="*/ 380 w 1190511"/>
              <a:gd name="connsiteY6" fmla="*/ 2215 h 1375531"/>
              <a:gd name="connsiteX0" fmla="*/ 380 w 1246984"/>
              <a:gd name="connsiteY0" fmla="*/ 2215 h 1375531"/>
              <a:gd name="connsiteX1" fmla="*/ 1166217 w 1246984"/>
              <a:gd name="connsiteY1" fmla="*/ 0 h 1375531"/>
              <a:gd name="connsiteX2" fmla="*/ 1163845 w 1246984"/>
              <a:gd name="connsiteY2" fmla="*/ 894920 h 1375531"/>
              <a:gd name="connsiteX3" fmla="*/ 1068759 w 1246984"/>
              <a:gd name="connsiteY3" fmla="*/ 1041119 h 1375531"/>
              <a:gd name="connsiteX4" fmla="*/ 91282 w 1246984"/>
              <a:gd name="connsiteY4" fmla="*/ 1373391 h 1375531"/>
              <a:gd name="connsiteX5" fmla="*/ 0 w 1246984"/>
              <a:gd name="connsiteY5" fmla="*/ 1260419 h 1375531"/>
              <a:gd name="connsiteX6" fmla="*/ 380 w 1246984"/>
              <a:gd name="connsiteY6" fmla="*/ 2215 h 1375531"/>
              <a:gd name="connsiteX0" fmla="*/ 380 w 1190511"/>
              <a:gd name="connsiteY0" fmla="*/ 2215 h 1375531"/>
              <a:gd name="connsiteX1" fmla="*/ 1166217 w 1190511"/>
              <a:gd name="connsiteY1" fmla="*/ 0 h 1375531"/>
              <a:gd name="connsiteX2" fmla="*/ 1163845 w 1190511"/>
              <a:gd name="connsiteY2" fmla="*/ 894920 h 1375531"/>
              <a:gd name="connsiteX3" fmla="*/ 1068759 w 1190511"/>
              <a:gd name="connsiteY3" fmla="*/ 1041119 h 1375531"/>
              <a:gd name="connsiteX4" fmla="*/ 91282 w 1190511"/>
              <a:gd name="connsiteY4" fmla="*/ 1373391 h 1375531"/>
              <a:gd name="connsiteX5" fmla="*/ 0 w 1190511"/>
              <a:gd name="connsiteY5" fmla="*/ 1260419 h 1375531"/>
              <a:gd name="connsiteX6" fmla="*/ 380 w 1190511"/>
              <a:gd name="connsiteY6" fmla="*/ 2215 h 1375531"/>
              <a:gd name="connsiteX0" fmla="*/ 380 w 1183009"/>
              <a:gd name="connsiteY0" fmla="*/ 2215 h 1375531"/>
              <a:gd name="connsiteX1" fmla="*/ 1166217 w 1183009"/>
              <a:gd name="connsiteY1" fmla="*/ 0 h 1375531"/>
              <a:gd name="connsiteX2" fmla="*/ 1163845 w 1183009"/>
              <a:gd name="connsiteY2" fmla="*/ 894920 h 1375531"/>
              <a:gd name="connsiteX3" fmla="*/ 1068759 w 1183009"/>
              <a:gd name="connsiteY3" fmla="*/ 1041119 h 1375531"/>
              <a:gd name="connsiteX4" fmla="*/ 91282 w 1183009"/>
              <a:gd name="connsiteY4" fmla="*/ 1373391 h 1375531"/>
              <a:gd name="connsiteX5" fmla="*/ 0 w 1183009"/>
              <a:gd name="connsiteY5" fmla="*/ 1260419 h 1375531"/>
              <a:gd name="connsiteX6" fmla="*/ 380 w 1183009"/>
              <a:gd name="connsiteY6" fmla="*/ 2215 h 1375531"/>
              <a:gd name="connsiteX0" fmla="*/ 380 w 1166217"/>
              <a:gd name="connsiteY0" fmla="*/ 2215 h 1375531"/>
              <a:gd name="connsiteX1" fmla="*/ 1166217 w 1166217"/>
              <a:gd name="connsiteY1" fmla="*/ 0 h 1375531"/>
              <a:gd name="connsiteX2" fmla="*/ 1163845 w 1166217"/>
              <a:gd name="connsiteY2" fmla="*/ 894920 h 1375531"/>
              <a:gd name="connsiteX3" fmla="*/ 1068759 w 1166217"/>
              <a:gd name="connsiteY3" fmla="*/ 1041119 h 1375531"/>
              <a:gd name="connsiteX4" fmla="*/ 91282 w 1166217"/>
              <a:gd name="connsiteY4" fmla="*/ 1373391 h 1375531"/>
              <a:gd name="connsiteX5" fmla="*/ 0 w 1166217"/>
              <a:gd name="connsiteY5" fmla="*/ 1260419 h 1375531"/>
              <a:gd name="connsiteX6" fmla="*/ 380 w 1166217"/>
              <a:gd name="connsiteY6" fmla="*/ 2215 h 1375531"/>
              <a:gd name="connsiteX0" fmla="*/ 6420 w 1172257"/>
              <a:gd name="connsiteY0" fmla="*/ 2215 h 1399780"/>
              <a:gd name="connsiteX1" fmla="*/ 1172257 w 1172257"/>
              <a:gd name="connsiteY1" fmla="*/ 0 h 1399780"/>
              <a:gd name="connsiteX2" fmla="*/ 1169885 w 1172257"/>
              <a:gd name="connsiteY2" fmla="*/ 894920 h 1399780"/>
              <a:gd name="connsiteX3" fmla="*/ 1074799 w 1172257"/>
              <a:gd name="connsiteY3" fmla="*/ 1041119 h 1399780"/>
              <a:gd name="connsiteX4" fmla="*/ 93519 w 1172257"/>
              <a:gd name="connsiteY4" fmla="*/ 1360100 h 1399780"/>
              <a:gd name="connsiteX5" fmla="*/ 6040 w 1172257"/>
              <a:gd name="connsiteY5" fmla="*/ 1260419 h 1399780"/>
              <a:gd name="connsiteX6" fmla="*/ 6420 w 1172257"/>
              <a:gd name="connsiteY6" fmla="*/ 2215 h 1399780"/>
              <a:gd name="connsiteX0" fmla="*/ 6420 w 1172257"/>
              <a:gd name="connsiteY0" fmla="*/ 2215 h 1400114"/>
              <a:gd name="connsiteX1" fmla="*/ 1172257 w 1172257"/>
              <a:gd name="connsiteY1" fmla="*/ 0 h 1400114"/>
              <a:gd name="connsiteX2" fmla="*/ 1169885 w 1172257"/>
              <a:gd name="connsiteY2" fmla="*/ 894920 h 1400114"/>
              <a:gd name="connsiteX3" fmla="*/ 1074799 w 1172257"/>
              <a:gd name="connsiteY3" fmla="*/ 1041119 h 1400114"/>
              <a:gd name="connsiteX4" fmla="*/ 93519 w 1172257"/>
              <a:gd name="connsiteY4" fmla="*/ 1360100 h 1400114"/>
              <a:gd name="connsiteX5" fmla="*/ 6040 w 1172257"/>
              <a:gd name="connsiteY5" fmla="*/ 1260419 h 1400114"/>
              <a:gd name="connsiteX6" fmla="*/ 6420 w 1172257"/>
              <a:gd name="connsiteY6" fmla="*/ 2215 h 1400114"/>
              <a:gd name="connsiteX0" fmla="*/ 666 w 1166503"/>
              <a:gd name="connsiteY0" fmla="*/ 2215 h 1363444"/>
              <a:gd name="connsiteX1" fmla="*/ 1166503 w 1166503"/>
              <a:gd name="connsiteY1" fmla="*/ 0 h 1363444"/>
              <a:gd name="connsiteX2" fmla="*/ 1164131 w 1166503"/>
              <a:gd name="connsiteY2" fmla="*/ 894920 h 1363444"/>
              <a:gd name="connsiteX3" fmla="*/ 1069045 w 1166503"/>
              <a:gd name="connsiteY3" fmla="*/ 1041119 h 1363444"/>
              <a:gd name="connsiteX4" fmla="*/ 87765 w 1166503"/>
              <a:gd name="connsiteY4" fmla="*/ 1360100 h 1363444"/>
              <a:gd name="connsiteX5" fmla="*/ 286 w 1166503"/>
              <a:gd name="connsiteY5" fmla="*/ 1260419 h 1363444"/>
              <a:gd name="connsiteX6" fmla="*/ 666 w 1166503"/>
              <a:gd name="connsiteY6" fmla="*/ 2215 h 1363444"/>
              <a:gd name="connsiteX0" fmla="*/ 666 w 1168481"/>
              <a:gd name="connsiteY0" fmla="*/ 6645 h 1367874"/>
              <a:gd name="connsiteX1" fmla="*/ 1156995 w 1168481"/>
              <a:gd name="connsiteY1" fmla="*/ 0 h 1367874"/>
              <a:gd name="connsiteX2" fmla="*/ 1164131 w 1168481"/>
              <a:gd name="connsiteY2" fmla="*/ 899350 h 1367874"/>
              <a:gd name="connsiteX3" fmla="*/ 1069045 w 1168481"/>
              <a:gd name="connsiteY3" fmla="*/ 1045549 h 1367874"/>
              <a:gd name="connsiteX4" fmla="*/ 87765 w 1168481"/>
              <a:gd name="connsiteY4" fmla="*/ 1364530 h 1367874"/>
              <a:gd name="connsiteX5" fmla="*/ 286 w 1168481"/>
              <a:gd name="connsiteY5" fmla="*/ 1264849 h 1367874"/>
              <a:gd name="connsiteX6" fmla="*/ 666 w 1168481"/>
              <a:gd name="connsiteY6" fmla="*/ 6645 h 1367874"/>
              <a:gd name="connsiteX0" fmla="*/ 666 w 1169473"/>
              <a:gd name="connsiteY0" fmla="*/ 6645 h 1367874"/>
              <a:gd name="connsiteX1" fmla="*/ 1156995 w 1169473"/>
              <a:gd name="connsiteY1" fmla="*/ 0 h 1367874"/>
              <a:gd name="connsiteX2" fmla="*/ 1164131 w 1169473"/>
              <a:gd name="connsiteY2" fmla="*/ 899350 h 1367874"/>
              <a:gd name="connsiteX3" fmla="*/ 1069045 w 1169473"/>
              <a:gd name="connsiteY3" fmla="*/ 1045549 h 1367874"/>
              <a:gd name="connsiteX4" fmla="*/ 87765 w 1169473"/>
              <a:gd name="connsiteY4" fmla="*/ 1364530 h 1367874"/>
              <a:gd name="connsiteX5" fmla="*/ 286 w 1169473"/>
              <a:gd name="connsiteY5" fmla="*/ 1264849 h 1367874"/>
              <a:gd name="connsiteX6" fmla="*/ 666 w 1169473"/>
              <a:gd name="connsiteY6" fmla="*/ 6645 h 1367874"/>
              <a:gd name="connsiteX0" fmla="*/ 666 w 1162319"/>
              <a:gd name="connsiteY0" fmla="*/ 6645 h 1367874"/>
              <a:gd name="connsiteX1" fmla="*/ 1156995 w 1162319"/>
              <a:gd name="connsiteY1" fmla="*/ 0 h 1367874"/>
              <a:gd name="connsiteX2" fmla="*/ 1154622 w 1162319"/>
              <a:gd name="connsiteY2" fmla="*/ 886059 h 1367874"/>
              <a:gd name="connsiteX3" fmla="*/ 1069045 w 1162319"/>
              <a:gd name="connsiteY3" fmla="*/ 1045549 h 1367874"/>
              <a:gd name="connsiteX4" fmla="*/ 87765 w 1162319"/>
              <a:gd name="connsiteY4" fmla="*/ 1364530 h 1367874"/>
              <a:gd name="connsiteX5" fmla="*/ 286 w 1162319"/>
              <a:gd name="connsiteY5" fmla="*/ 1264849 h 1367874"/>
              <a:gd name="connsiteX6" fmla="*/ 666 w 1162319"/>
              <a:gd name="connsiteY6" fmla="*/ 6645 h 1367874"/>
              <a:gd name="connsiteX0" fmla="*/ 666 w 1157419"/>
              <a:gd name="connsiteY0" fmla="*/ 6645 h 1367874"/>
              <a:gd name="connsiteX1" fmla="*/ 1156995 w 1157419"/>
              <a:gd name="connsiteY1" fmla="*/ 0 h 1367874"/>
              <a:gd name="connsiteX2" fmla="*/ 1154622 w 1157419"/>
              <a:gd name="connsiteY2" fmla="*/ 886059 h 1367874"/>
              <a:gd name="connsiteX3" fmla="*/ 1069045 w 1157419"/>
              <a:gd name="connsiteY3" fmla="*/ 1045549 h 1367874"/>
              <a:gd name="connsiteX4" fmla="*/ 87765 w 1157419"/>
              <a:gd name="connsiteY4" fmla="*/ 1364530 h 1367874"/>
              <a:gd name="connsiteX5" fmla="*/ 286 w 1157419"/>
              <a:gd name="connsiteY5" fmla="*/ 1264849 h 1367874"/>
              <a:gd name="connsiteX6" fmla="*/ 666 w 1157419"/>
              <a:gd name="connsiteY6" fmla="*/ 6645 h 1367874"/>
              <a:gd name="connsiteX0" fmla="*/ 666 w 1157396"/>
              <a:gd name="connsiteY0" fmla="*/ 6645 h 1367874"/>
              <a:gd name="connsiteX1" fmla="*/ 1156995 w 1157396"/>
              <a:gd name="connsiteY1" fmla="*/ 0 h 1367874"/>
              <a:gd name="connsiteX2" fmla="*/ 1154622 w 1157396"/>
              <a:gd name="connsiteY2" fmla="*/ 886059 h 1367874"/>
              <a:gd name="connsiteX3" fmla="*/ 1069045 w 1157396"/>
              <a:gd name="connsiteY3" fmla="*/ 1045549 h 1367874"/>
              <a:gd name="connsiteX4" fmla="*/ 87765 w 1157396"/>
              <a:gd name="connsiteY4" fmla="*/ 1364530 h 1367874"/>
              <a:gd name="connsiteX5" fmla="*/ 286 w 1157396"/>
              <a:gd name="connsiteY5" fmla="*/ 1264849 h 1367874"/>
              <a:gd name="connsiteX6" fmla="*/ 666 w 1157396"/>
              <a:gd name="connsiteY6" fmla="*/ 6645 h 1367874"/>
              <a:gd name="connsiteX0" fmla="*/ 666 w 1154651"/>
              <a:gd name="connsiteY0" fmla="*/ 6645 h 1367874"/>
              <a:gd name="connsiteX1" fmla="*/ 726871 w 1154651"/>
              <a:gd name="connsiteY1" fmla="*/ 0 h 1367874"/>
              <a:gd name="connsiteX2" fmla="*/ 1154622 w 1154651"/>
              <a:gd name="connsiteY2" fmla="*/ 886059 h 1367874"/>
              <a:gd name="connsiteX3" fmla="*/ 1069045 w 1154651"/>
              <a:gd name="connsiteY3" fmla="*/ 1045549 h 1367874"/>
              <a:gd name="connsiteX4" fmla="*/ 87765 w 1154651"/>
              <a:gd name="connsiteY4" fmla="*/ 1364530 h 1367874"/>
              <a:gd name="connsiteX5" fmla="*/ 286 w 1154651"/>
              <a:gd name="connsiteY5" fmla="*/ 1264849 h 1367874"/>
              <a:gd name="connsiteX6" fmla="*/ 666 w 1154651"/>
              <a:gd name="connsiteY6" fmla="*/ 6645 h 1367874"/>
              <a:gd name="connsiteX0" fmla="*/ 666 w 1087791"/>
              <a:gd name="connsiteY0" fmla="*/ 6645 h 1367874"/>
              <a:gd name="connsiteX1" fmla="*/ 726871 w 1087791"/>
              <a:gd name="connsiteY1" fmla="*/ 0 h 1367874"/>
              <a:gd name="connsiteX2" fmla="*/ 757197 w 1087791"/>
              <a:gd name="connsiteY2" fmla="*/ 906568 h 1367874"/>
              <a:gd name="connsiteX3" fmla="*/ 1069045 w 1087791"/>
              <a:gd name="connsiteY3" fmla="*/ 1045549 h 1367874"/>
              <a:gd name="connsiteX4" fmla="*/ 87765 w 1087791"/>
              <a:gd name="connsiteY4" fmla="*/ 1364530 h 1367874"/>
              <a:gd name="connsiteX5" fmla="*/ 286 w 1087791"/>
              <a:gd name="connsiteY5" fmla="*/ 1264849 h 1367874"/>
              <a:gd name="connsiteX6" fmla="*/ 666 w 1087791"/>
              <a:gd name="connsiteY6" fmla="*/ 6645 h 1367874"/>
              <a:gd name="connsiteX0" fmla="*/ 666 w 1085800"/>
              <a:gd name="connsiteY0" fmla="*/ 6645 h 1367874"/>
              <a:gd name="connsiteX1" fmla="*/ 726871 w 1085800"/>
              <a:gd name="connsiteY1" fmla="*/ 0 h 1367874"/>
              <a:gd name="connsiteX2" fmla="*/ 732043 w 1085800"/>
              <a:gd name="connsiteY2" fmla="*/ 903638 h 1367874"/>
              <a:gd name="connsiteX3" fmla="*/ 1069045 w 1085800"/>
              <a:gd name="connsiteY3" fmla="*/ 1045549 h 1367874"/>
              <a:gd name="connsiteX4" fmla="*/ 87765 w 1085800"/>
              <a:gd name="connsiteY4" fmla="*/ 1364530 h 1367874"/>
              <a:gd name="connsiteX5" fmla="*/ 286 w 1085800"/>
              <a:gd name="connsiteY5" fmla="*/ 1264849 h 1367874"/>
              <a:gd name="connsiteX6" fmla="*/ 666 w 1085800"/>
              <a:gd name="connsiteY6" fmla="*/ 6645 h 1367874"/>
              <a:gd name="connsiteX0" fmla="*/ 666 w 733624"/>
              <a:gd name="connsiteY0" fmla="*/ 6645 h 1367874"/>
              <a:gd name="connsiteX1" fmla="*/ 726871 w 733624"/>
              <a:gd name="connsiteY1" fmla="*/ 0 h 1367874"/>
              <a:gd name="connsiteX2" fmla="*/ 732043 w 733624"/>
              <a:gd name="connsiteY2" fmla="*/ 903638 h 1367874"/>
              <a:gd name="connsiteX3" fmla="*/ 643952 w 733624"/>
              <a:gd name="connsiteY3" fmla="*/ 1192041 h 1367874"/>
              <a:gd name="connsiteX4" fmla="*/ 87765 w 733624"/>
              <a:gd name="connsiteY4" fmla="*/ 1364530 h 1367874"/>
              <a:gd name="connsiteX5" fmla="*/ 286 w 733624"/>
              <a:gd name="connsiteY5" fmla="*/ 1264849 h 1367874"/>
              <a:gd name="connsiteX6" fmla="*/ 666 w 733624"/>
              <a:gd name="connsiteY6" fmla="*/ 6645 h 1367874"/>
              <a:gd name="connsiteX0" fmla="*/ 666 w 733624"/>
              <a:gd name="connsiteY0" fmla="*/ 6645 h 1367874"/>
              <a:gd name="connsiteX1" fmla="*/ 726871 w 733624"/>
              <a:gd name="connsiteY1" fmla="*/ 0 h 1367874"/>
              <a:gd name="connsiteX2" fmla="*/ 732043 w 733624"/>
              <a:gd name="connsiteY2" fmla="*/ 976884 h 1367874"/>
              <a:gd name="connsiteX3" fmla="*/ 643952 w 733624"/>
              <a:gd name="connsiteY3" fmla="*/ 1192041 h 1367874"/>
              <a:gd name="connsiteX4" fmla="*/ 87765 w 733624"/>
              <a:gd name="connsiteY4" fmla="*/ 1364530 h 1367874"/>
              <a:gd name="connsiteX5" fmla="*/ 286 w 733624"/>
              <a:gd name="connsiteY5" fmla="*/ 1264849 h 1367874"/>
              <a:gd name="connsiteX6" fmla="*/ 666 w 733624"/>
              <a:gd name="connsiteY6" fmla="*/ 6645 h 1367874"/>
              <a:gd name="connsiteX0" fmla="*/ 666 w 732674"/>
              <a:gd name="connsiteY0" fmla="*/ 6645 h 1367874"/>
              <a:gd name="connsiteX1" fmla="*/ 726871 w 732674"/>
              <a:gd name="connsiteY1" fmla="*/ 0 h 1367874"/>
              <a:gd name="connsiteX2" fmla="*/ 732043 w 732674"/>
              <a:gd name="connsiteY2" fmla="*/ 976884 h 1367874"/>
              <a:gd name="connsiteX3" fmla="*/ 643952 w 732674"/>
              <a:gd name="connsiteY3" fmla="*/ 1192041 h 1367874"/>
              <a:gd name="connsiteX4" fmla="*/ 87765 w 732674"/>
              <a:gd name="connsiteY4" fmla="*/ 1364530 h 1367874"/>
              <a:gd name="connsiteX5" fmla="*/ 286 w 732674"/>
              <a:gd name="connsiteY5" fmla="*/ 1264849 h 1367874"/>
              <a:gd name="connsiteX6" fmla="*/ 666 w 732674"/>
              <a:gd name="connsiteY6" fmla="*/ 6645 h 1367874"/>
              <a:gd name="connsiteX0" fmla="*/ 666 w 732674"/>
              <a:gd name="connsiteY0" fmla="*/ 0 h 1361229"/>
              <a:gd name="connsiteX1" fmla="*/ 731902 w 732674"/>
              <a:gd name="connsiteY1" fmla="*/ 8004 h 1361229"/>
              <a:gd name="connsiteX2" fmla="*/ 732043 w 732674"/>
              <a:gd name="connsiteY2" fmla="*/ 970239 h 1361229"/>
              <a:gd name="connsiteX3" fmla="*/ 643952 w 732674"/>
              <a:gd name="connsiteY3" fmla="*/ 1185396 h 1361229"/>
              <a:gd name="connsiteX4" fmla="*/ 87765 w 732674"/>
              <a:gd name="connsiteY4" fmla="*/ 1357885 h 1361229"/>
              <a:gd name="connsiteX5" fmla="*/ 286 w 732674"/>
              <a:gd name="connsiteY5" fmla="*/ 1258204 h 1361229"/>
              <a:gd name="connsiteX6" fmla="*/ 666 w 732674"/>
              <a:gd name="connsiteY6" fmla="*/ 0 h 1361229"/>
              <a:gd name="connsiteX0" fmla="*/ 666 w 732674"/>
              <a:gd name="connsiteY0" fmla="*/ 3715 h 1364944"/>
              <a:gd name="connsiteX1" fmla="*/ 729386 w 732674"/>
              <a:gd name="connsiteY1" fmla="*/ 0 h 1364944"/>
              <a:gd name="connsiteX2" fmla="*/ 732043 w 732674"/>
              <a:gd name="connsiteY2" fmla="*/ 973954 h 1364944"/>
              <a:gd name="connsiteX3" fmla="*/ 643952 w 732674"/>
              <a:gd name="connsiteY3" fmla="*/ 1189111 h 1364944"/>
              <a:gd name="connsiteX4" fmla="*/ 87765 w 732674"/>
              <a:gd name="connsiteY4" fmla="*/ 1361600 h 1364944"/>
              <a:gd name="connsiteX5" fmla="*/ 286 w 732674"/>
              <a:gd name="connsiteY5" fmla="*/ 1261919 h 1364944"/>
              <a:gd name="connsiteX6" fmla="*/ 666 w 732674"/>
              <a:gd name="connsiteY6" fmla="*/ 3715 h 1364944"/>
              <a:gd name="connsiteX0" fmla="*/ 666 w 1172824"/>
              <a:gd name="connsiteY0" fmla="*/ 0 h 1361229"/>
              <a:gd name="connsiteX1" fmla="*/ 1172819 w 1172824"/>
              <a:gd name="connsiteY1" fmla="*/ 10119 h 1361229"/>
              <a:gd name="connsiteX2" fmla="*/ 732043 w 1172824"/>
              <a:gd name="connsiteY2" fmla="*/ 970239 h 1361229"/>
              <a:gd name="connsiteX3" fmla="*/ 643952 w 1172824"/>
              <a:gd name="connsiteY3" fmla="*/ 1185396 h 1361229"/>
              <a:gd name="connsiteX4" fmla="*/ 87765 w 1172824"/>
              <a:gd name="connsiteY4" fmla="*/ 1357885 h 1361229"/>
              <a:gd name="connsiteX5" fmla="*/ 286 w 1172824"/>
              <a:gd name="connsiteY5" fmla="*/ 1258204 h 1361229"/>
              <a:gd name="connsiteX6" fmla="*/ 666 w 1172824"/>
              <a:gd name="connsiteY6" fmla="*/ 0 h 1361229"/>
              <a:gd name="connsiteX0" fmla="*/ 666 w 1168865"/>
              <a:gd name="connsiteY0" fmla="*/ 0 h 1361229"/>
              <a:gd name="connsiteX1" fmla="*/ 1168860 w 1168865"/>
              <a:gd name="connsiteY1" fmla="*/ 896 h 1361229"/>
              <a:gd name="connsiteX2" fmla="*/ 732043 w 1168865"/>
              <a:gd name="connsiteY2" fmla="*/ 970239 h 1361229"/>
              <a:gd name="connsiteX3" fmla="*/ 643952 w 1168865"/>
              <a:gd name="connsiteY3" fmla="*/ 1185396 h 1361229"/>
              <a:gd name="connsiteX4" fmla="*/ 87765 w 1168865"/>
              <a:gd name="connsiteY4" fmla="*/ 1357885 h 1361229"/>
              <a:gd name="connsiteX5" fmla="*/ 286 w 1168865"/>
              <a:gd name="connsiteY5" fmla="*/ 1258204 h 1361229"/>
              <a:gd name="connsiteX6" fmla="*/ 666 w 1168865"/>
              <a:gd name="connsiteY6" fmla="*/ 0 h 1361229"/>
              <a:gd name="connsiteX0" fmla="*/ 666 w 1169344"/>
              <a:gd name="connsiteY0" fmla="*/ 0 h 1361229"/>
              <a:gd name="connsiteX1" fmla="*/ 1168860 w 1169344"/>
              <a:gd name="connsiteY1" fmla="*/ 896 h 1361229"/>
              <a:gd name="connsiteX2" fmla="*/ 1167557 w 1169344"/>
              <a:gd name="connsiteY2" fmla="*/ 845731 h 1361229"/>
              <a:gd name="connsiteX3" fmla="*/ 643952 w 1169344"/>
              <a:gd name="connsiteY3" fmla="*/ 1185396 h 1361229"/>
              <a:gd name="connsiteX4" fmla="*/ 87765 w 1169344"/>
              <a:gd name="connsiteY4" fmla="*/ 1357885 h 1361229"/>
              <a:gd name="connsiteX5" fmla="*/ 286 w 1169344"/>
              <a:gd name="connsiteY5" fmla="*/ 1258204 h 1361229"/>
              <a:gd name="connsiteX6" fmla="*/ 666 w 1169344"/>
              <a:gd name="connsiteY6" fmla="*/ 0 h 1361229"/>
              <a:gd name="connsiteX0" fmla="*/ 666 w 1180430"/>
              <a:gd name="connsiteY0" fmla="*/ 0 h 1361229"/>
              <a:gd name="connsiteX1" fmla="*/ 1168860 w 1180430"/>
              <a:gd name="connsiteY1" fmla="*/ 896 h 1361229"/>
              <a:gd name="connsiteX2" fmla="*/ 1167557 w 1180430"/>
              <a:gd name="connsiteY2" fmla="*/ 845731 h 1361229"/>
              <a:gd name="connsiteX3" fmla="*/ 1055711 w 1180430"/>
              <a:gd name="connsiteY3" fmla="*/ 977884 h 1361229"/>
              <a:gd name="connsiteX4" fmla="*/ 87765 w 1180430"/>
              <a:gd name="connsiteY4" fmla="*/ 1357885 h 1361229"/>
              <a:gd name="connsiteX5" fmla="*/ 286 w 1180430"/>
              <a:gd name="connsiteY5" fmla="*/ 1258204 h 1361229"/>
              <a:gd name="connsiteX6" fmla="*/ 666 w 1180430"/>
              <a:gd name="connsiteY6" fmla="*/ 0 h 1361229"/>
              <a:gd name="connsiteX0" fmla="*/ 666 w 1169344"/>
              <a:gd name="connsiteY0" fmla="*/ 0 h 1361229"/>
              <a:gd name="connsiteX1" fmla="*/ 1168860 w 1169344"/>
              <a:gd name="connsiteY1" fmla="*/ 896 h 1361229"/>
              <a:gd name="connsiteX2" fmla="*/ 1167557 w 1169344"/>
              <a:gd name="connsiteY2" fmla="*/ 845731 h 1361229"/>
              <a:gd name="connsiteX3" fmla="*/ 1055711 w 1169344"/>
              <a:gd name="connsiteY3" fmla="*/ 977884 h 1361229"/>
              <a:gd name="connsiteX4" fmla="*/ 87765 w 1169344"/>
              <a:gd name="connsiteY4" fmla="*/ 1357885 h 1361229"/>
              <a:gd name="connsiteX5" fmla="*/ 286 w 1169344"/>
              <a:gd name="connsiteY5" fmla="*/ 1258204 h 1361229"/>
              <a:gd name="connsiteX6" fmla="*/ 666 w 1169344"/>
              <a:gd name="connsiteY6" fmla="*/ 0 h 1361229"/>
              <a:gd name="connsiteX0" fmla="*/ 666 w 1173094"/>
              <a:gd name="connsiteY0" fmla="*/ 0 h 1361229"/>
              <a:gd name="connsiteX1" fmla="*/ 1172819 w 1173094"/>
              <a:gd name="connsiteY1" fmla="*/ 646490 h 1361229"/>
              <a:gd name="connsiteX2" fmla="*/ 1167557 w 1173094"/>
              <a:gd name="connsiteY2" fmla="*/ 845731 h 1361229"/>
              <a:gd name="connsiteX3" fmla="*/ 1055711 w 1173094"/>
              <a:gd name="connsiteY3" fmla="*/ 977884 h 1361229"/>
              <a:gd name="connsiteX4" fmla="*/ 87765 w 1173094"/>
              <a:gd name="connsiteY4" fmla="*/ 1357885 h 1361229"/>
              <a:gd name="connsiteX5" fmla="*/ 286 w 1173094"/>
              <a:gd name="connsiteY5" fmla="*/ 1258204 h 1361229"/>
              <a:gd name="connsiteX6" fmla="*/ 666 w 1173094"/>
              <a:gd name="connsiteY6" fmla="*/ 0 h 1361229"/>
              <a:gd name="connsiteX0" fmla="*/ 3825 w 1180212"/>
              <a:gd name="connsiteY0" fmla="*/ 0 h 728516"/>
              <a:gd name="connsiteX1" fmla="*/ 1179937 w 1180212"/>
              <a:gd name="connsiteY1" fmla="*/ 10118 h 728516"/>
              <a:gd name="connsiteX2" fmla="*/ 1174675 w 1180212"/>
              <a:gd name="connsiteY2" fmla="*/ 209359 h 728516"/>
              <a:gd name="connsiteX3" fmla="*/ 1062829 w 1180212"/>
              <a:gd name="connsiteY3" fmla="*/ 341512 h 728516"/>
              <a:gd name="connsiteX4" fmla="*/ 94883 w 1180212"/>
              <a:gd name="connsiteY4" fmla="*/ 721513 h 728516"/>
              <a:gd name="connsiteX5" fmla="*/ 7404 w 1180212"/>
              <a:gd name="connsiteY5" fmla="*/ 621832 h 728516"/>
              <a:gd name="connsiteX6" fmla="*/ 3825 w 1180212"/>
              <a:gd name="connsiteY6" fmla="*/ 0 h 728516"/>
              <a:gd name="connsiteX0" fmla="*/ 0 w 1176387"/>
              <a:gd name="connsiteY0" fmla="*/ 0 h 725513"/>
              <a:gd name="connsiteX1" fmla="*/ 1176112 w 1176387"/>
              <a:gd name="connsiteY1" fmla="*/ 10118 h 725513"/>
              <a:gd name="connsiteX2" fmla="*/ 1170850 w 1176387"/>
              <a:gd name="connsiteY2" fmla="*/ 209359 h 725513"/>
              <a:gd name="connsiteX3" fmla="*/ 1059004 w 1176387"/>
              <a:gd name="connsiteY3" fmla="*/ 341512 h 725513"/>
              <a:gd name="connsiteX4" fmla="*/ 91058 w 1176387"/>
              <a:gd name="connsiteY4" fmla="*/ 721513 h 725513"/>
              <a:gd name="connsiteX5" fmla="*/ 3579 w 1176387"/>
              <a:gd name="connsiteY5" fmla="*/ 621832 h 725513"/>
              <a:gd name="connsiteX6" fmla="*/ 0 w 1176387"/>
              <a:gd name="connsiteY6" fmla="*/ 0 h 725513"/>
              <a:gd name="connsiteX0" fmla="*/ 0 w 1176387"/>
              <a:gd name="connsiteY0" fmla="*/ 0 h 725110"/>
              <a:gd name="connsiteX1" fmla="*/ 1176112 w 1176387"/>
              <a:gd name="connsiteY1" fmla="*/ 10118 h 725110"/>
              <a:gd name="connsiteX2" fmla="*/ 1170850 w 1176387"/>
              <a:gd name="connsiteY2" fmla="*/ 209359 h 725110"/>
              <a:gd name="connsiteX3" fmla="*/ 1059004 w 1176387"/>
              <a:gd name="connsiteY3" fmla="*/ 341512 h 725110"/>
              <a:gd name="connsiteX4" fmla="*/ 91058 w 1176387"/>
              <a:gd name="connsiteY4" fmla="*/ 721513 h 725110"/>
              <a:gd name="connsiteX5" fmla="*/ 3579 w 1176387"/>
              <a:gd name="connsiteY5" fmla="*/ 617365 h 725110"/>
              <a:gd name="connsiteX6" fmla="*/ 0 w 1176387"/>
              <a:gd name="connsiteY6" fmla="*/ 0 h 725110"/>
              <a:gd name="connsiteX0" fmla="*/ 0 w 1176387"/>
              <a:gd name="connsiteY0" fmla="*/ 0 h 725687"/>
              <a:gd name="connsiteX1" fmla="*/ 1176112 w 1176387"/>
              <a:gd name="connsiteY1" fmla="*/ 10118 h 725687"/>
              <a:gd name="connsiteX2" fmla="*/ 1170850 w 1176387"/>
              <a:gd name="connsiteY2" fmla="*/ 209359 h 725687"/>
              <a:gd name="connsiteX3" fmla="*/ 1059004 w 1176387"/>
              <a:gd name="connsiteY3" fmla="*/ 341512 h 725687"/>
              <a:gd name="connsiteX4" fmla="*/ 91058 w 1176387"/>
              <a:gd name="connsiteY4" fmla="*/ 721513 h 725687"/>
              <a:gd name="connsiteX5" fmla="*/ 3579 w 1176387"/>
              <a:gd name="connsiteY5" fmla="*/ 617365 h 725687"/>
              <a:gd name="connsiteX6" fmla="*/ 0 w 1176387"/>
              <a:gd name="connsiteY6" fmla="*/ 0 h 725687"/>
              <a:gd name="connsiteX0" fmla="*/ 0 w 1188887"/>
              <a:gd name="connsiteY0" fmla="*/ 0 h 725687"/>
              <a:gd name="connsiteX1" fmla="*/ 1176112 w 1188887"/>
              <a:gd name="connsiteY1" fmla="*/ 10118 h 725687"/>
              <a:gd name="connsiteX2" fmla="*/ 1178520 w 1188887"/>
              <a:gd name="connsiteY2" fmla="*/ 209359 h 725687"/>
              <a:gd name="connsiteX3" fmla="*/ 1059004 w 1188887"/>
              <a:gd name="connsiteY3" fmla="*/ 341512 h 725687"/>
              <a:gd name="connsiteX4" fmla="*/ 91058 w 1188887"/>
              <a:gd name="connsiteY4" fmla="*/ 721513 h 725687"/>
              <a:gd name="connsiteX5" fmla="*/ 3579 w 1188887"/>
              <a:gd name="connsiteY5" fmla="*/ 617365 h 725687"/>
              <a:gd name="connsiteX6" fmla="*/ 0 w 1188887"/>
              <a:gd name="connsiteY6" fmla="*/ 0 h 725687"/>
              <a:gd name="connsiteX0" fmla="*/ 0 w 1189713"/>
              <a:gd name="connsiteY0" fmla="*/ 0 h 725687"/>
              <a:gd name="connsiteX1" fmla="*/ 1176112 w 1189713"/>
              <a:gd name="connsiteY1" fmla="*/ 10118 h 725687"/>
              <a:gd name="connsiteX2" fmla="*/ 1178520 w 1189713"/>
              <a:gd name="connsiteY2" fmla="*/ 209359 h 725687"/>
              <a:gd name="connsiteX3" fmla="*/ 1059004 w 1189713"/>
              <a:gd name="connsiteY3" fmla="*/ 341512 h 725687"/>
              <a:gd name="connsiteX4" fmla="*/ 91058 w 1189713"/>
              <a:gd name="connsiteY4" fmla="*/ 721513 h 725687"/>
              <a:gd name="connsiteX5" fmla="*/ 3579 w 1189713"/>
              <a:gd name="connsiteY5" fmla="*/ 617365 h 725687"/>
              <a:gd name="connsiteX6" fmla="*/ 0 w 1189713"/>
              <a:gd name="connsiteY6" fmla="*/ 0 h 725687"/>
              <a:gd name="connsiteX0" fmla="*/ 0 w 1178718"/>
              <a:gd name="connsiteY0" fmla="*/ 0 h 725687"/>
              <a:gd name="connsiteX1" fmla="*/ 1176112 w 1178718"/>
              <a:gd name="connsiteY1" fmla="*/ 10118 h 725687"/>
              <a:gd name="connsiteX2" fmla="*/ 1178520 w 1178718"/>
              <a:gd name="connsiteY2" fmla="*/ 209359 h 725687"/>
              <a:gd name="connsiteX3" fmla="*/ 1059004 w 1178718"/>
              <a:gd name="connsiteY3" fmla="*/ 341512 h 725687"/>
              <a:gd name="connsiteX4" fmla="*/ 91058 w 1178718"/>
              <a:gd name="connsiteY4" fmla="*/ 721513 h 725687"/>
              <a:gd name="connsiteX5" fmla="*/ 3579 w 1178718"/>
              <a:gd name="connsiteY5" fmla="*/ 617365 h 725687"/>
              <a:gd name="connsiteX6" fmla="*/ 0 w 1178718"/>
              <a:gd name="connsiteY6" fmla="*/ 0 h 725687"/>
              <a:gd name="connsiteX0" fmla="*/ 0 w 1178773"/>
              <a:gd name="connsiteY0" fmla="*/ 0 h 725687"/>
              <a:gd name="connsiteX1" fmla="*/ 1178029 w 1178773"/>
              <a:gd name="connsiteY1" fmla="*/ 1184 h 725687"/>
              <a:gd name="connsiteX2" fmla="*/ 1178520 w 1178773"/>
              <a:gd name="connsiteY2" fmla="*/ 209359 h 725687"/>
              <a:gd name="connsiteX3" fmla="*/ 1059004 w 1178773"/>
              <a:gd name="connsiteY3" fmla="*/ 341512 h 725687"/>
              <a:gd name="connsiteX4" fmla="*/ 91058 w 1178773"/>
              <a:gd name="connsiteY4" fmla="*/ 721513 h 725687"/>
              <a:gd name="connsiteX5" fmla="*/ 3579 w 1178773"/>
              <a:gd name="connsiteY5" fmla="*/ 617365 h 725687"/>
              <a:gd name="connsiteX6" fmla="*/ 0 w 1178773"/>
              <a:gd name="connsiteY6" fmla="*/ 0 h 725687"/>
              <a:gd name="connsiteX0" fmla="*/ 0 w 1178718"/>
              <a:gd name="connsiteY0" fmla="*/ 0 h 725687"/>
              <a:gd name="connsiteX1" fmla="*/ 1178029 w 1178718"/>
              <a:gd name="connsiteY1" fmla="*/ 1184 h 725687"/>
              <a:gd name="connsiteX2" fmla="*/ 1178520 w 1178718"/>
              <a:gd name="connsiteY2" fmla="*/ 209359 h 725687"/>
              <a:gd name="connsiteX3" fmla="*/ 1059004 w 1178718"/>
              <a:gd name="connsiteY3" fmla="*/ 341512 h 725687"/>
              <a:gd name="connsiteX4" fmla="*/ 91058 w 1178718"/>
              <a:gd name="connsiteY4" fmla="*/ 721513 h 725687"/>
              <a:gd name="connsiteX5" fmla="*/ 3579 w 1178718"/>
              <a:gd name="connsiteY5" fmla="*/ 617365 h 725687"/>
              <a:gd name="connsiteX6" fmla="*/ 0 w 1178718"/>
              <a:gd name="connsiteY6" fmla="*/ 0 h 725687"/>
              <a:gd name="connsiteX0" fmla="*/ 0 w 1178718"/>
              <a:gd name="connsiteY0" fmla="*/ 3283 h 728970"/>
              <a:gd name="connsiteX1" fmla="*/ 1133926 w 1178718"/>
              <a:gd name="connsiteY1" fmla="*/ 0 h 728970"/>
              <a:gd name="connsiteX2" fmla="*/ 1178520 w 1178718"/>
              <a:gd name="connsiteY2" fmla="*/ 212642 h 728970"/>
              <a:gd name="connsiteX3" fmla="*/ 1059004 w 1178718"/>
              <a:gd name="connsiteY3" fmla="*/ 344795 h 728970"/>
              <a:gd name="connsiteX4" fmla="*/ 91058 w 1178718"/>
              <a:gd name="connsiteY4" fmla="*/ 724796 h 728970"/>
              <a:gd name="connsiteX5" fmla="*/ 3579 w 1178718"/>
              <a:gd name="connsiteY5" fmla="*/ 620648 h 728970"/>
              <a:gd name="connsiteX6" fmla="*/ 0 w 1178718"/>
              <a:gd name="connsiteY6" fmla="*/ 3283 h 728970"/>
              <a:gd name="connsiteX0" fmla="*/ 0 w 1164072"/>
              <a:gd name="connsiteY0" fmla="*/ 3283 h 728970"/>
              <a:gd name="connsiteX1" fmla="*/ 1133926 w 1164072"/>
              <a:gd name="connsiteY1" fmla="*/ 0 h 728970"/>
              <a:gd name="connsiteX2" fmla="*/ 1136335 w 1164072"/>
              <a:gd name="connsiteY2" fmla="*/ 212642 h 728970"/>
              <a:gd name="connsiteX3" fmla="*/ 1059004 w 1164072"/>
              <a:gd name="connsiteY3" fmla="*/ 344795 h 728970"/>
              <a:gd name="connsiteX4" fmla="*/ 91058 w 1164072"/>
              <a:gd name="connsiteY4" fmla="*/ 724796 h 728970"/>
              <a:gd name="connsiteX5" fmla="*/ 3579 w 1164072"/>
              <a:gd name="connsiteY5" fmla="*/ 620648 h 728970"/>
              <a:gd name="connsiteX6" fmla="*/ 0 w 1164072"/>
              <a:gd name="connsiteY6" fmla="*/ 3283 h 728970"/>
              <a:gd name="connsiteX0" fmla="*/ 0 w 1137042"/>
              <a:gd name="connsiteY0" fmla="*/ 3283 h 728970"/>
              <a:gd name="connsiteX1" fmla="*/ 1133926 w 1137042"/>
              <a:gd name="connsiteY1" fmla="*/ 0 h 728970"/>
              <a:gd name="connsiteX2" fmla="*/ 1136335 w 1137042"/>
              <a:gd name="connsiteY2" fmla="*/ 212642 h 728970"/>
              <a:gd name="connsiteX3" fmla="*/ 1059004 w 1137042"/>
              <a:gd name="connsiteY3" fmla="*/ 344795 h 728970"/>
              <a:gd name="connsiteX4" fmla="*/ 91058 w 1137042"/>
              <a:gd name="connsiteY4" fmla="*/ 724796 h 728970"/>
              <a:gd name="connsiteX5" fmla="*/ 3579 w 1137042"/>
              <a:gd name="connsiteY5" fmla="*/ 620648 h 728970"/>
              <a:gd name="connsiteX6" fmla="*/ 0 w 1137042"/>
              <a:gd name="connsiteY6" fmla="*/ 3283 h 728970"/>
              <a:gd name="connsiteX0" fmla="*/ 0 w 1139679"/>
              <a:gd name="connsiteY0" fmla="*/ 1050 h 726737"/>
              <a:gd name="connsiteX1" fmla="*/ 1139679 w 1139679"/>
              <a:gd name="connsiteY1" fmla="*/ 0 h 726737"/>
              <a:gd name="connsiteX2" fmla="*/ 1136335 w 1139679"/>
              <a:gd name="connsiteY2" fmla="*/ 210409 h 726737"/>
              <a:gd name="connsiteX3" fmla="*/ 1059004 w 1139679"/>
              <a:gd name="connsiteY3" fmla="*/ 342562 h 726737"/>
              <a:gd name="connsiteX4" fmla="*/ 91058 w 1139679"/>
              <a:gd name="connsiteY4" fmla="*/ 722563 h 726737"/>
              <a:gd name="connsiteX5" fmla="*/ 3579 w 1139679"/>
              <a:gd name="connsiteY5" fmla="*/ 618415 h 726737"/>
              <a:gd name="connsiteX6" fmla="*/ 0 w 1139679"/>
              <a:gd name="connsiteY6" fmla="*/ 1050 h 726737"/>
              <a:gd name="connsiteX0" fmla="*/ 0 w 1167181"/>
              <a:gd name="connsiteY0" fmla="*/ 1050 h 726737"/>
              <a:gd name="connsiteX1" fmla="*/ 1139679 w 1167181"/>
              <a:gd name="connsiteY1" fmla="*/ 0 h 726737"/>
              <a:gd name="connsiteX2" fmla="*/ 1142088 w 1167181"/>
              <a:gd name="connsiteY2" fmla="*/ 212642 h 726737"/>
              <a:gd name="connsiteX3" fmla="*/ 1059004 w 1167181"/>
              <a:gd name="connsiteY3" fmla="*/ 342562 h 726737"/>
              <a:gd name="connsiteX4" fmla="*/ 91058 w 1167181"/>
              <a:gd name="connsiteY4" fmla="*/ 722563 h 726737"/>
              <a:gd name="connsiteX5" fmla="*/ 3579 w 1167181"/>
              <a:gd name="connsiteY5" fmla="*/ 618415 h 726737"/>
              <a:gd name="connsiteX6" fmla="*/ 0 w 1167181"/>
              <a:gd name="connsiteY6" fmla="*/ 1050 h 726737"/>
              <a:gd name="connsiteX0" fmla="*/ 0 w 1142378"/>
              <a:gd name="connsiteY0" fmla="*/ 1050 h 726737"/>
              <a:gd name="connsiteX1" fmla="*/ 1139679 w 1142378"/>
              <a:gd name="connsiteY1" fmla="*/ 0 h 726737"/>
              <a:gd name="connsiteX2" fmla="*/ 1142088 w 1142378"/>
              <a:gd name="connsiteY2" fmla="*/ 212642 h 726737"/>
              <a:gd name="connsiteX3" fmla="*/ 1059004 w 1142378"/>
              <a:gd name="connsiteY3" fmla="*/ 342562 h 726737"/>
              <a:gd name="connsiteX4" fmla="*/ 91058 w 1142378"/>
              <a:gd name="connsiteY4" fmla="*/ 722563 h 726737"/>
              <a:gd name="connsiteX5" fmla="*/ 3579 w 1142378"/>
              <a:gd name="connsiteY5" fmla="*/ 618415 h 726737"/>
              <a:gd name="connsiteX6" fmla="*/ 0 w 1142378"/>
              <a:gd name="connsiteY6" fmla="*/ 1050 h 726737"/>
              <a:gd name="connsiteX0" fmla="*/ 0 w 1166132"/>
              <a:gd name="connsiteY0" fmla="*/ 1050 h 726737"/>
              <a:gd name="connsiteX1" fmla="*/ 1139679 w 1166132"/>
              <a:gd name="connsiteY1" fmla="*/ 0 h 726737"/>
              <a:gd name="connsiteX2" fmla="*/ 1140171 w 1166132"/>
              <a:gd name="connsiteY2" fmla="*/ 210408 h 726737"/>
              <a:gd name="connsiteX3" fmla="*/ 1059004 w 1166132"/>
              <a:gd name="connsiteY3" fmla="*/ 342562 h 726737"/>
              <a:gd name="connsiteX4" fmla="*/ 91058 w 1166132"/>
              <a:gd name="connsiteY4" fmla="*/ 722563 h 726737"/>
              <a:gd name="connsiteX5" fmla="*/ 3579 w 1166132"/>
              <a:gd name="connsiteY5" fmla="*/ 618415 h 726737"/>
              <a:gd name="connsiteX6" fmla="*/ 0 w 1166132"/>
              <a:gd name="connsiteY6" fmla="*/ 1050 h 726737"/>
              <a:gd name="connsiteX0" fmla="*/ 0 w 1166132"/>
              <a:gd name="connsiteY0" fmla="*/ 1050 h 726737"/>
              <a:gd name="connsiteX1" fmla="*/ 1139679 w 1166132"/>
              <a:gd name="connsiteY1" fmla="*/ 0 h 726737"/>
              <a:gd name="connsiteX2" fmla="*/ 1140171 w 1166132"/>
              <a:gd name="connsiteY2" fmla="*/ 210408 h 726737"/>
              <a:gd name="connsiteX3" fmla="*/ 1059004 w 1166132"/>
              <a:gd name="connsiteY3" fmla="*/ 342562 h 726737"/>
              <a:gd name="connsiteX4" fmla="*/ 91058 w 1166132"/>
              <a:gd name="connsiteY4" fmla="*/ 722563 h 726737"/>
              <a:gd name="connsiteX5" fmla="*/ 3579 w 1166132"/>
              <a:gd name="connsiteY5" fmla="*/ 618415 h 726737"/>
              <a:gd name="connsiteX6" fmla="*/ 0 w 1166132"/>
              <a:gd name="connsiteY6" fmla="*/ 1050 h 726737"/>
              <a:gd name="connsiteX0" fmla="*/ 0 w 1140577"/>
              <a:gd name="connsiteY0" fmla="*/ 1050 h 726737"/>
              <a:gd name="connsiteX1" fmla="*/ 1139679 w 1140577"/>
              <a:gd name="connsiteY1" fmla="*/ 0 h 726737"/>
              <a:gd name="connsiteX2" fmla="*/ 1140171 w 1140577"/>
              <a:gd name="connsiteY2" fmla="*/ 210408 h 726737"/>
              <a:gd name="connsiteX3" fmla="*/ 1059004 w 1140577"/>
              <a:gd name="connsiteY3" fmla="*/ 342562 h 726737"/>
              <a:gd name="connsiteX4" fmla="*/ 91058 w 1140577"/>
              <a:gd name="connsiteY4" fmla="*/ 722563 h 726737"/>
              <a:gd name="connsiteX5" fmla="*/ 3579 w 1140577"/>
              <a:gd name="connsiteY5" fmla="*/ 618415 h 726737"/>
              <a:gd name="connsiteX6" fmla="*/ 0 w 1140577"/>
              <a:gd name="connsiteY6" fmla="*/ 1050 h 726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40577" h="726737">
                <a:moveTo>
                  <a:pt x="0" y="1050"/>
                </a:moveTo>
                <a:lnTo>
                  <a:pt x="1139679" y="0"/>
                </a:lnTo>
                <a:cubicBezTo>
                  <a:pt x="1135765" y="145563"/>
                  <a:pt x="1141173" y="156792"/>
                  <a:pt x="1140171" y="210408"/>
                </a:cubicBezTo>
                <a:cubicBezTo>
                  <a:pt x="1142633" y="265243"/>
                  <a:pt x="1136064" y="304105"/>
                  <a:pt x="1059004" y="342562"/>
                </a:cubicBezTo>
                <a:cubicBezTo>
                  <a:pt x="884905" y="429447"/>
                  <a:pt x="407027" y="633832"/>
                  <a:pt x="91058" y="722563"/>
                </a:cubicBezTo>
                <a:cubicBezTo>
                  <a:pt x="44398" y="735666"/>
                  <a:pt x="6877" y="722310"/>
                  <a:pt x="3579" y="618415"/>
                </a:cubicBezTo>
                <a:cubicBezTo>
                  <a:pt x="281" y="514520"/>
                  <a:pt x="1507" y="273144"/>
                  <a:pt x="0" y="1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lIns="251953" tIns="140374" rIns="215960" bIns="93583">
            <a:noAutofit/>
          </a:bodyPr>
          <a:lstStyle>
            <a:lvl1pPr marL="0" indent="0">
              <a:spcBef>
                <a:spcPts val="1800"/>
              </a:spcBef>
              <a:buFontTx/>
              <a:buNone/>
              <a:defRPr b="0" i="0">
                <a:solidFill>
                  <a:schemeClr val="bg1"/>
                </a:solidFill>
                <a:latin typeface="Univers 45 Light"/>
                <a:cs typeface="Univers 45 Light"/>
              </a:defRPr>
            </a:lvl1pPr>
            <a:lvl2pPr marL="457116" indent="0">
              <a:buFontTx/>
              <a:buNone/>
              <a:defRPr/>
            </a:lvl2pPr>
            <a:lvl3pPr marL="914231" indent="0">
              <a:buFontTx/>
              <a:buNone/>
              <a:defRPr/>
            </a:lvl3pPr>
            <a:lvl4pPr marL="1263417" indent="0">
              <a:buFontTx/>
              <a:buNone/>
              <a:defRPr/>
            </a:lvl4pPr>
            <a:lvl5pPr marL="1599906" indent="0">
              <a:buFontTx/>
              <a:buNone/>
              <a:defRPr/>
            </a:lvl5pPr>
          </a:lstStyle>
          <a:p>
            <a:pPr lvl="0"/>
            <a:r>
              <a:rPr lang="es-ES_tradnl" dirty="0"/>
              <a:t>Escriba el texto</a:t>
            </a:r>
            <a:endParaRPr lang="es-ES" dirty="0"/>
          </a:p>
        </p:txBody>
      </p:sp>
      <p:sp>
        <p:nvSpPr>
          <p:cNvPr id="22" name="Marcador de texto 17"/>
          <p:cNvSpPr>
            <a:spLocks noGrp="1"/>
          </p:cNvSpPr>
          <p:nvPr>
            <p:ph type="body" sz="quarter" idx="28" hasCustomPrompt="1"/>
          </p:nvPr>
        </p:nvSpPr>
        <p:spPr>
          <a:xfrm>
            <a:off x="5076056" y="2984500"/>
            <a:ext cx="3387516" cy="13779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vert="horz" lIns="251953" tIns="140374" rIns="215960" bIns="45711"/>
          <a:lstStyle>
            <a:lvl1pPr marL="0" indent="0">
              <a:buFontTx/>
              <a:buNone/>
              <a:defRPr b="0" i="0" baseline="0">
                <a:solidFill>
                  <a:schemeClr val="bg1"/>
                </a:solidFill>
                <a:latin typeface="Univers 45 Light"/>
                <a:cs typeface="Univers 45 Light"/>
              </a:defRPr>
            </a:lvl1pPr>
          </a:lstStyle>
          <a:p>
            <a:pPr lvl="0"/>
            <a:r>
              <a:rPr lang="es-ES_tradnl" dirty="0"/>
              <a:t>Escriba el texto</a:t>
            </a:r>
            <a:endParaRPr lang="es-ES" dirty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36297" y="188640"/>
            <a:ext cx="1691233" cy="572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054810072"/>
      </p:ext>
    </p:extLst>
  </p:cSld>
  <p:clrMapOvr>
    <a:masterClrMapping/>
  </p:clrMapOvr>
  <p:transition spd="slow">
    <p:circl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yec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texto 4"/>
          <p:cNvSpPr>
            <a:spLocks noGrp="1"/>
          </p:cNvSpPr>
          <p:nvPr>
            <p:ph type="body" sz="quarter" idx="16" hasCustomPrompt="1"/>
          </p:nvPr>
        </p:nvSpPr>
        <p:spPr>
          <a:xfrm>
            <a:off x="877476" y="2157907"/>
            <a:ext cx="949006" cy="1721239"/>
          </a:xfrm>
          <a:custGeom>
            <a:avLst/>
            <a:gdLst>
              <a:gd name="connsiteX0" fmla="*/ 0 w 1152525"/>
              <a:gd name="connsiteY0" fmla="*/ 0 h 1295400"/>
              <a:gd name="connsiteX1" fmla="*/ 1152525 w 1152525"/>
              <a:gd name="connsiteY1" fmla="*/ 0 h 1295400"/>
              <a:gd name="connsiteX2" fmla="*/ 1152525 w 1152525"/>
              <a:gd name="connsiteY2" fmla="*/ 1295400 h 1295400"/>
              <a:gd name="connsiteX3" fmla="*/ 0 w 1152525"/>
              <a:gd name="connsiteY3" fmla="*/ 1295400 h 1295400"/>
              <a:gd name="connsiteX4" fmla="*/ 0 w 1152525"/>
              <a:gd name="connsiteY4" fmla="*/ 0 h 1295400"/>
              <a:gd name="connsiteX0" fmla="*/ 0 w 1165225"/>
              <a:gd name="connsiteY0" fmla="*/ 0 h 1295400"/>
              <a:gd name="connsiteX1" fmla="*/ 1152525 w 1165225"/>
              <a:gd name="connsiteY1" fmla="*/ 0 h 1295400"/>
              <a:gd name="connsiteX2" fmla="*/ 1165225 w 1165225"/>
              <a:gd name="connsiteY2" fmla="*/ 838200 h 1295400"/>
              <a:gd name="connsiteX3" fmla="*/ 0 w 1165225"/>
              <a:gd name="connsiteY3" fmla="*/ 1295400 h 1295400"/>
              <a:gd name="connsiteX4" fmla="*/ 0 w 1165225"/>
              <a:gd name="connsiteY4" fmla="*/ 0 h 1295400"/>
              <a:gd name="connsiteX0" fmla="*/ 9509 w 1174734"/>
              <a:gd name="connsiteY0" fmla="*/ 0 h 1421663"/>
              <a:gd name="connsiteX1" fmla="*/ 1162034 w 1174734"/>
              <a:gd name="connsiteY1" fmla="*/ 0 h 1421663"/>
              <a:gd name="connsiteX2" fmla="*/ 1174734 w 1174734"/>
              <a:gd name="connsiteY2" fmla="*/ 838200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4734"/>
              <a:gd name="connsiteY0" fmla="*/ 0 h 1421663"/>
              <a:gd name="connsiteX1" fmla="*/ 1162034 w 1174734"/>
              <a:gd name="connsiteY1" fmla="*/ 0 h 1421663"/>
              <a:gd name="connsiteX2" fmla="*/ 1174734 w 1174734"/>
              <a:gd name="connsiteY2" fmla="*/ 1010981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4734"/>
              <a:gd name="connsiteY0" fmla="*/ 0 h 1421663"/>
              <a:gd name="connsiteX1" fmla="*/ 1169641 w 1174734"/>
              <a:gd name="connsiteY1" fmla="*/ 0 h 1421663"/>
              <a:gd name="connsiteX2" fmla="*/ 1174734 w 1174734"/>
              <a:gd name="connsiteY2" fmla="*/ 1010981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5774"/>
              <a:gd name="connsiteY0" fmla="*/ 2215 h 1423878"/>
              <a:gd name="connsiteX1" fmla="*/ 1175346 w 1175774"/>
              <a:gd name="connsiteY1" fmla="*/ 0 h 1423878"/>
              <a:gd name="connsiteX2" fmla="*/ 1174734 w 1175774"/>
              <a:gd name="connsiteY2" fmla="*/ 1013196 h 1423878"/>
              <a:gd name="connsiteX3" fmla="*/ 0 w 1175774"/>
              <a:gd name="connsiteY3" fmla="*/ 1423878 h 1423878"/>
              <a:gd name="connsiteX4" fmla="*/ 9509 w 1175774"/>
              <a:gd name="connsiteY4" fmla="*/ 2215 h 1423878"/>
              <a:gd name="connsiteX0" fmla="*/ 5706 w 1171971"/>
              <a:gd name="connsiteY0" fmla="*/ 2215 h 1421663"/>
              <a:gd name="connsiteX1" fmla="*/ 1171543 w 1171971"/>
              <a:gd name="connsiteY1" fmla="*/ 0 h 1421663"/>
              <a:gd name="connsiteX2" fmla="*/ 1170931 w 1171971"/>
              <a:gd name="connsiteY2" fmla="*/ 1013196 h 1421663"/>
              <a:gd name="connsiteX3" fmla="*/ 0 w 1171971"/>
              <a:gd name="connsiteY3" fmla="*/ 1421663 h 1421663"/>
              <a:gd name="connsiteX4" fmla="*/ 5706 w 1171971"/>
              <a:gd name="connsiteY4" fmla="*/ 2215 h 1421663"/>
              <a:gd name="connsiteX0" fmla="*/ 916 w 1167181"/>
              <a:gd name="connsiteY0" fmla="*/ 2215 h 1417233"/>
              <a:gd name="connsiteX1" fmla="*/ 1166753 w 1167181"/>
              <a:gd name="connsiteY1" fmla="*/ 0 h 1417233"/>
              <a:gd name="connsiteX2" fmla="*/ 1166141 w 1167181"/>
              <a:gd name="connsiteY2" fmla="*/ 1013196 h 1417233"/>
              <a:gd name="connsiteX3" fmla="*/ 915 w 1167181"/>
              <a:gd name="connsiteY3" fmla="*/ 1417233 h 1417233"/>
              <a:gd name="connsiteX4" fmla="*/ 916 w 1167181"/>
              <a:gd name="connsiteY4" fmla="*/ 2215 h 1417233"/>
              <a:gd name="connsiteX0" fmla="*/ 916 w 1167181"/>
              <a:gd name="connsiteY0" fmla="*/ 2215 h 1403942"/>
              <a:gd name="connsiteX1" fmla="*/ 1166753 w 1167181"/>
              <a:gd name="connsiteY1" fmla="*/ 0 h 1403942"/>
              <a:gd name="connsiteX2" fmla="*/ 1166141 w 1167181"/>
              <a:gd name="connsiteY2" fmla="*/ 1013196 h 1403942"/>
              <a:gd name="connsiteX3" fmla="*/ 915 w 1167181"/>
              <a:gd name="connsiteY3" fmla="*/ 1403942 h 1403942"/>
              <a:gd name="connsiteX4" fmla="*/ 916 w 1167181"/>
              <a:gd name="connsiteY4" fmla="*/ 2215 h 1403942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86483 w 1252749"/>
              <a:gd name="connsiteY3" fmla="*/ 1403942 h 1438510"/>
              <a:gd name="connsiteX4" fmla="*/ 86104 w 1252749"/>
              <a:gd name="connsiteY4" fmla="*/ 1260419 h 1438510"/>
              <a:gd name="connsiteX5" fmla="*/ 86484 w 1252749"/>
              <a:gd name="connsiteY5" fmla="*/ 2215 h 1438510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177386 w 1252749"/>
              <a:gd name="connsiteY3" fmla="*/ 1373391 h 1438510"/>
              <a:gd name="connsiteX4" fmla="*/ 86483 w 1252749"/>
              <a:gd name="connsiteY4" fmla="*/ 1403942 h 1438510"/>
              <a:gd name="connsiteX5" fmla="*/ 86104 w 1252749"/>
              <a:gd name="connsiteY5" fmla="*/ 1260419 h 1438510"/>
              <a:gd name="connsiteX6" fmla="*/ 86484 w 1252749"/>
              <a:gd name="connsiteY6" fmla="*/ 2215 h 1438510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1154863 w 1252749"/>
              <a:gd name="connsiteY3" fmla="*/ 1041119 h 1438510"/>
              <a:gd name="connsiteX4" fmla="*/ 177386 w 1252749"/>
              <a:gd name="connsiteY4" fmla="*/ 1373391 h 1438510"/>
              <a:gd name="connsiteX5" fmla="*/ 86483 w 1252749"/>
              <a:gd name="connsiteY5" fmla="*/ 1403942 h 1438510"/>
              <a:gd name="connsiteX6" fmla="*/ 86104 w 1252749"/>
              <a:gd name="connsiteY6" fmla="*/ 1260419 h 1438510"/>
              <a:gd name="connsiteX7" fmla="*/ 86484 w 1252749"/>
              <a:gd name="connsiteY7" fmla="*/ 2215 h 1438510"/>
              <a:gd name="connsiteX0" fmla="*/ 86484 w 1337915"/>
              <a:gd name="connsiteY0" fmla="*/ 2215 h 1438510"/>
              <a:gd name="connsiteX1" fmla="*/ 1252321 w 1337915"/>
              <a:gd name="connsiteY1" fmla="*/ 0 h 1438510"/>
              <a:gd name="connsiteX2" fmla="*/ 1249949 w 1337915"/>
              <a:gd name="connsiteY2" fmla="*/ 894920 h 1438510"/>
              <a:gd name="connsiteX3" fmla="*/ 1251709 w 1337915"/>
              <a:gd name="connsiteY3" fmla="*/ 1013196 h 1438510"/>
              <a:gd name="connsiteX4" fmla="*/ 1154863 w 1337915"/>
              <a:gd name="connsiteY4" fmla="*/ 1041119 h 1438510"/>
              <a:gd name="connsiteX5" fmla="*/ 177386 w 1337915"/>
              <a:gd name="connsiteY5" fmla="*/ 1373391 h 1438510"/>
              <a:gd name="connsiteX6" fmla="*/ 86483 w 1337915"/>
              <a:gd name="connsiteY6" fmla="*/ 1403942 h 1438510"/>
              <a:gd name="connsiteX7" fmla="*/ 86104 w 1337915"/>
              <a:gd name="connsiteY7" fmla="*/ 1260419 h 1438510"/>
              <a:gd name="connsiteX8" fmla="*/ 86484 w 1337915"/>
              <a:gd name="connsiteY8" fmla="*/ 2215 h 1438510"/>
              <a:gd name="connsiteX0" fmla="*/ 86484 w 1341572"/>
              <a:gd name="connsiteY0" fmla="*/ 2215 h 1438510"/>
              <a:gd name="connsiteX1" fmla="*/ 1252321 w 1341572"/>
              <a:gd name="connsiteY1" fmla="*/ 0 h 1438510"/>
              <a:gd name="connsiteX2" fmla="*/ 1249949 w 1341572"/>
              <a:gd name="connsiteY2" fmla="*/ 894920 h 1438510"/>
              <a:gd name="connsiteX3" fmla="*/ 1154863 w 1341572"/>
              <a:gd name="connsiteY3" fmla="*/ 1041119 h 1438510"/>
              <a:gd name="connsiteX4" fmla="*/ 177386 w 1341572"/>
              <a:gd name="connsiteY4" fmla="*/ 1373391 h 1438510"/>
              <a:gd name="connsiteX5" fmla="*/ 86483 w 1341572"/>
              <a:gd name="connsiteY5" fmla="*/ 1403942 h 1438510"/>
              <a:gd name="connsiteX6" fmla="*/ 86104 w 1341572"/>
              <a:gd name="connsiteY6" fmla="*/ 1260419 h 1438510"/>
              <a:gd name="connsiteX7" fmla="*/ 86484 w 1341572"/>
              <a:gd name="connsiteY7" fmla="*/ 2215 h 1438510"/>
              <a:gd name="connsiteX0" fmla="*/ 86484 w 1341572"/>
              <a:gd name="connsiteY0" fmla="*/ 2215 h 1373391"/>
              <a:gd name="connsiteX1" fmla="*/ 1252321 w 1341572"/>
              <a:gd name="connsiteY1" fmla="*/ 0 h 1373391"/>
              <a:gd name="connsiteX2" fmla="*/ 1249949 w 1341572"/>
              <a:gd name="connsiteY2" fmla="*/ 894920 h 1373391"/>
              <a:gd name="connsiteX3" fmla="*/ 1154863 w 1341572"/>
              <a:gd name="connsiteY3" fmla="*/ 1041119 h 1373391"/>
              <a:gd name="connsiteX4" fmla="*/ 177386 w 1341572"/>
              <a:gd name="connsiteY4" fmla="*/ 1373391 h 1373391"/>
              <a:gd name="connsiteX5" fmla="*/ 86104 w 1341572"/>
              <a:gd name="connsiteY5" fmla="*/ 1260419 h 1373391"/>
              <a:gd name="connsiteX6" fmla="*/ 86484 w 1341572"/>
              <a:gd name="connsiteY6" fmla="*/ 2215 h 1373391"/>
              <a:gd name="connsiteX0" fmla="*/ 86484 w 1341572"/>
              <a:gd name="connsiteY0" fmla="*/ 2215 h 1380291"/>
              <a:gd name="connsiteX1" fmla="*/ 1252321 w 1341572"/>
              <a:gd name="connsiteY1" fmla="*/ 0 h 1380291"/>
              <a:gd name="connsiteX2" fmla="*/ 1249949 w 1341572"/>
              <a:gd name="connsiteY2" fmla="*/ 894920 h 1380291"/>
              <a:gd name="connsiteX3" fmla="*/ 1154863 w 1341572"/>
              <a:gd name="connsiteY3" fmla="*/ 1041119 h 1380291"/>
              <a:gd name="connsiteX4" fmla="*/ 177386 w 1341572"/>
              <a:gd name="connsiteY4" fmla="*/ 1373391 h 1380291"/>
              <a:gd name="connsiteX5" fmla="*/ 86104 w 1341572"/>
              <a:gd name="connsiteY5" fmla="*/ 1260419 h 1380291"/>
              <a:gd name="connsiteX6" fmla="*/ 86484 w 1341572"/>
              <a:gd name="connsiteY6" fmla="*/ 2215 h 1380291"/>
              <a:gd name="connsiteX0" fmla="*/ 86484 w 1341572"/>
              <a:gd name="connsiteY0" fmla="*/ 2215 h 1425606"/>
              <a:gd name="connsiteX1" fmla="*/ 1252321 w 1341572"/>
              <a:gd name="connsiteY1" fmla="*/ 0 h 1425606"/>
              <a:gd name="connsiteX2" fmla="*/ 1249949 w 1341572"/>
              <a:gd name="connsiteY2" fmla="*/ 894920 h 1425606"/>
              <a:gd name="connsiteX3" fmla="*/ 1154863 w 1341572"/>
              <a:gd name="connsiteY3" fmla="*/ 1041119 h 1425606"/>
              <a:gd name="connsiteX4" fmla="*/ 177386 w 1341572"/>
              <a:gd name="connsiteY4" fmla="*/ 1373391 h 1425606"/>
              <a:gd name="connsiteX5" fmla="*/ 86104 w 1341572"/>
              <a:gd name="connsiteY5" fmla="*/ 1260419 h 1425606"/>
              <a:gd name="connsiteX6" fmla="*/ 86484 w 1341572"/>
              <a:gd name="connsiteY6" fmla="*/ 2215 h 1425606"/>
              <a:gd name="connsiteX0" fmla="*/ 86484 w 1341572"/>
              <a:gd name="connsiteY0" fmla="*/ 2215 h 1410556"/>
              <a:gd name="connsiteX1" fmla="*/ 1252321 w 1341572"/>
              <a:gd name="connsiteY1" fmla="*/ 0 h 1410556"/>
              <a:gd name="connsiteX2" fmla="*/ 1249949 w 1341572"/>
              <a:gd name="connsiteY2" fmla="*/ 894920 h 1410556"/>
              <a:gd name="connsiteX3" fmla="*/ 1154863 w 1341572"/>
              <a:gd name="connsiteY3" fmla="*/ 1041119 h 1410556"/>
              <a:gd name="connsiteX4" fmla="*/ 177386 w 1341572"/>
              <a:gd name="connsiteY4" fmla="*/ 1373391 h 1410556"/>
              <a:gd name="connsiteX5" fmla="*/ 86104 w 1341572"/>
              <a:gd name="connsiteY5" fmla="*/ 1260419 h 1410556"/>
              <a:gd name="connsiteX6" fmla="*/ 86484 w 1341572"/>
              <a:gd name="connsiteY6" fmla="*/ 2215 h 1410556"/>
              <a:gd name="connsiteX0" fmla="*/ 86484 w 1341572"/>
              <a:gd name="connsiteY0" fmla="*/ 2215 h 1416904"/>
              <a:gd name="connsiteX1" fmla="*/ 1252321 w 1341572"/>
              <a:gd name="connsiteY1" fmla="*/ 0 h 1416904"/>
              <a:gd name="connsiteX2" fmla="*/ 1249949 w 1341572"/>
              <a:gd name="connsiteY2" fmla="*/ 894920 h 1416904"/>
              <a:gd name="connsiteX3" fmla="*/ 1154863 w 1341572"/>
              <a:gd name="connsiteY3" fmla="*/ 1041119 h 1416904"/>
              <a:gd name="connsiteX4" fmla="*/ 177386 w 1341572"/>
              <a:gd name="connsiteY4" fmla="*/ 1373391 h 1416904"/>
              <a:gd name="connsiteX5" fmla="*/ 86104 w 1341572"/>
              <a:gd name="connsiteY5" fmla="*/ 1260419 h 1416904"/>
              <a:gd name="connsiteX6" fmla="*/ 86484 w 1341572"/>
              <a:gd name="connsiteY6" fmla="*/ 2215 h 1416904"/>
              <a:gd name="connsiteX0" fmla="*/ 86484 w 1341572"/>
              <a:gd name="connsiteY0" fmla="*/ 2215 h 1383845"/>
              <a:gd name="connsiteX1" fmla="*/ 1252321 w 1341572"/>
              <a:gd name="connsiteY1" fmla="*/ 0 h 1383845"/>
              <a:gd name="connsiteX2" fmla="*/ 1249949 w 1341572"/>
              <a:gd name="connsiteY2" fmla="*/ 894920 h 1383845"/>
              <a:gd name="connsiteX3" fmla="*/ 1154863 w 1341572"/>
              <a:gd name="connsiteY3" fmla="*/ 1041119 h 1383845"/>
              <a:gd name="connsiteX4" fmla="*/ 177386 w 1341572"/>
              <a:gd name="connsiteY4" fmla="*/ 1373391 h 1383845"/>
              <a:gd name="connsiteX5" fmla="*/ 86104 w 1341572"/>
              <a:gd name="connsiteY5" fmla="*/ 1260419 h 1383845"/>
              <a:gd name="connsiteX6" fmla="*/ 86484 w 1341572"/>
              <a:gd name="connsiteY6" fmla="*/ 2215 h 1383845"/>
              <a:gd name="connsiteX0" fmla="*/ 86484 w 1341572"/>
              <a:gd name="connsiteY0" fmla="*/ 2215 h 1375531"/>
              <a:gd name="connsiteX1" fmla="*/ 1252321 w 1341572"/>
              <a:gd name="connsiteY1" fmla="*/ 0 h 1375531"/>
              <a:gd name="connsiteX2" fmla="*/ 1249949 w 1341572"/>
              <a:gd name="connsiteY2" fmla="*/ 894920 h 1375531"/>
              <a:gd name="connsiteX3" fmla="*/ 1154863 w 1341572"/>
              <a:gd name="connsiteY3" fmla="*/ 1041119 h 1375531"/>
              <a:gd name="connsiteX4" fmla="*/ 177386 w 1341572"/>
              <a:gd name="connsiteY4" fmla="*/ 1373391 h 1375531"/>
              <a:gd name="connsiteX5" fmla="*/ 86104 w 1341572"/>
              <a:gd name="connsiteY5" fmla="*/ 1260419 h 1375531"/>
              <a:gd name="connsiteX6" fmla="*/ 86484 w 1341572"/>
              <a:gd name="connsiteY6" fmla="*/ 2215 h 1375531"/>
              <a:gd name="connsiteX0" fmla="*/ 86484 w 1341572"/>
              <a:gd name="connsiteY0" fmla="*/ 2215 h 1375531"/>
              <a:gd name="connsiteX1" fmla="*/ 1252321 w 1341572"/>
              <a:gd name="connsiteY1" fmla="*/ 0 h 1375531"/>
              <a:gd name="connsiteX2" fmla="*/ 1249949 w 1341572"/>
              <a:gd name="connsiteY2" fmla="*/ 894920 h 1375531"/>
              <a:gd name="connsiteX3" fmla="*/ 1154863 w 1341572"/>
              <a:gd name="connsiteY3" fmla="*/ 1041119 h 1375531"/>
              <a:gd name="connsiteX4" fmla="*/ 177386 w 1341572"/>
              <a:gd name="connsiteY4" fmla="*/ 1373391 h 1375531"/>
              <a:gd name="connsiteX5" fmla="*/ 86104 w 1341572"/>
              <a:gd name="connsiteY5" fmla="*/ 1260419 h 1375531"/>
              <a:gd name="connsiteX6" fmla="*/ 86484 w 1341572"/>
              <a:gd name="connsiteY6" fmla="*/ 2215 h 1375531"/>
              <a:gd name="connsiteX0" fmla="*/ 380 w 1255468"/>
              <a:gd name="connsiteY0" fmla="*/ 2215 h 1375531"/>
              <a:gd name="connsiteX1" fmla="*/ 1166217 w 1255468"/>
              <a:gd name="connsiteY1" fmla="*/ 0 h 1375531"/>
              <a:gd name="connsiteX2" fmla="*/ 1163845 w 1255468"/>
              <a:gd name="connsiteY2" fmla="*/ 894920 h 1375531"/>
              <a:gd name="connsiteX3" fmla="*/ 1068759 w 1255468"/>
              <a:gd name="connsiteY3" fmla="*/ 1041119 h 1375531"/>
              <a:gd name="connsiteX4" fmla="*/ 91282 w 1255468"/>
              <a:gd name="connsiteY4" fmla="*/ 1373391 h 1375531"/>
              <a:gd name="connsiteX5" fmla="*/ 0 w 1255468"/>
              <a:gd name="connsiteY5" fmla="*/ 1260419 h 1375531"/>
              <a:gd name="connsiteX6" fmla="*/ 380 w 1255468"/>
              <a:gd name="connsiteY6" fmla="*/ 2215 h 1375531"/>
              <a:gd name="connsiteX0" fmla="*/ 380 w 1177259"/>
              <a:gd name="connsiteY0" fmla="*/ 2215 h 1375531"/>
              <a:gd name="connsiteX1" fmla="*/ 1166217 w 1177259"/>
              <a:gd name="connsiteY1" fmla="*/ 0 h 1375531"/>
              <a:gd name="connsiteX2" fmla="*/ 1163845 w 1177259"/>
              <a:gd name="connsiteY2" fmla="*/ 894920 h 1375531"/>
              <a:gd name="connsiteX3" fmla="*/ 1068759 w 1177259"/>
              <a:gd name="connsiteY3" fmla="*/ 1041119 h 1375531"/>
              <a:gd name="connsiteX4" fmla="*/ 91282 w 1177259"/>
              <a:gd name="connsiteY4" fmla="*/ 1373391 h 1375531"/>
              <a:gd name="connsiteX5" fmla="*/ 0 w 1177259"/>
              <a:gd name="connsiteY5" fmla="*/ 1260419 h 1375531"/>
              <a:gd name="connsiteX6" fmla="*/ 380 w 1177259"/>
              <a:gd name="connsiteY6" fmla="*/ 2215 h 1375531"/>
              <a:gd name="connsiteX0" fmla="*/ 380 w 1190511"/>
              <a:gd name="connsiteY0" fmla="*/ 2215 h 1375531"/>
              <a:gd name="connsiteX1" fmla="*/ 1166217 w 1190511"/>
              <a:gd name="connsiteY1" fmla="*/ 0 h 1375531"/>
              <a:gd name="connsiteX2" fmla="*/ 1163845 w 1190511"/>
              <a:gd name="connsiteY2" fmla="*/ 894920 h 1375531"/>
              <a:gd name="connsiteX3" fmla="*/ 1068759 w 1190511"/>
              <a:gd name="connsiteY3" fmla="*/ 1041119 h 1375531"/>
              <a:gd name="connsiteX4" fmla="*/ 91282 w 1190511"/>
              <a:gd name="connsiteY4" fmla="*/ 1373391 h 1375531"/>
              <a:gd name="connsiteX5" fmla="*/ 0 w 1190511"/>
              <a:gd name="connsiteY5" fmla="*/ 1260419 h 1375531"/>
              <a:gd name="connsiteX6" fmla="*/ 380 w 1190511"/>
              <a:gd name="connsiteY6" fmla="*/ 2215 h 1375531"/>
              <a:gd name="connsiteX0" fmla="*/ 380 w 1246984"/>
              <a:gd name="connsiteY0" fmla="*/ 2215 h 1375531"/>
              <a:gd name="connsiteX1" fmla="*/ 1166217 w 1246984"/>
              <a:gd name="connsiteY1" fmla="*/ 0 h 1375531"/>
              <a:gd name="connsiteX2" fmla="*/ 1163845 w 1246984"/>
              <a:gd name="connsiteY2" fmla="*/ 894920 h 1375531"/>
              <a:gd name="connsiteX3" fmla="*/ 1068759 w 1246984"/>
              <a:gd name="connsiteY3" fmla="*/ 1041119 h 1375531"/>
              <a:gd name="connsiteX4" fmla="*/ 91282 w 1246984"/>
              <a:gd name="connsiteY4" fmla="*/ 1373391 h 1375531"/>
              <a:gd name="connsiteX5" fmla="*/ 0 w 1246984"/>
              <a:gd name="connsiteY5" fmla="*/ 1260419 h 1375531"/>
              <a:gd name="connsiteX6" fmla="*/ 380 w 1246984"/>
              <a:gd name="connsiteY6" fmla="*/ 2215 h 1375531"/>
              <a:gd name="connsiteX0" fmla="*/ 380 w 1190511"/>
              <a:gd name="connsiteY0" fmla="*/ 2215 h 1375531"/>
              <a:gd name="connsiteX1" fmla="*/ 1166217 w 1190511"/>
              <a:gd name="connsiteY1" fmla="*/ 0 h 1375531"/>
              <a:gd name="connsiteX2" fmla="*/ 1163845 w 1190511"/>
              <a:gd name="connsiteY2" fmla="*/ 894920 h 1375531"/>
              <a:gd name="connsiteX3" fmla="*/ 1068759 w 1190511"/>
              <a:gd name="connsiteY3" fmla="*/ 1041119 h 1375531"/>
              <a:gd name="connsiteX4" fmla="*/ 91282 w 1190511"/>
              <a:gd name="connsiteY4" fmla="*/ 1373391 h 1375531"/>
              <a:gd name="connsiteX5" fmla="*/ 0 w 1190511"/>
              <a:gd name="connsiteY5" fmla="*/ 1260419 h 1375531"/>
              <a:gd name="connsiteX6" fmla="*/ 380 w 1190511"/>
              <a:gd name="connsiteY6" fmla="*/ 2215 h 1375531"/>
              <a:gd name="connsiteX0" fmla="*/ 380 w 1183009"/>
              <a:gd name="connsiteY0" fmla="*/ 2215 h 1375531"/>
              <a:gd name="connsiteX1" fmla="*/ 1166217 w 1183009"/>
              <a:gd name="connsiteY1" fmla="*/ 0 h 1375531"/>
              <a:gd name="connsiteX2" fmla="*/ 1163845 w 1183009"/>
              <a:gd name="connsiteY2" fmla="*/ 894920 h 1375531"/>
              <a:gd name="connsiteX3" fmla="*/ 1068759 w 1183009"/>
              <a:gd name="connsiteY3" fmla="*/ 1041119 h 1375531"/>
              <a:gd name="connsiteX4" fmla="*/ 91282 w 1183009"/>
              <a:gd name="connsiteY4" fmla="*/ 1373391 h 1375531"/>
              <a:gd name="connsiteX5" fmla="*/ 0 w 1183009"/>
              <a:gd name="connsiteY5" fmla="*/ 1260419 h 1375531"/>
              <a:gd name="connsiteX6" fmla="*/ 380 w 1183009"/>
              <a:gd name="connsiteY6" fmla="*/ 2215 h 1375531"/>
              <a:gd name="connsiteX0" fmla="*/ 380 w 1166217"/>
              <a:gd name="connsiteY0" fmla="*/ 2215 h 1375531"/>
              <a:gd name="connsiteX1" fmla="*/ 1166217 w 1166217"/>
              <a:gd name="connsiteY1" fmla="*/ 0 h 1375531"/>
              <a:gd name="connsiteX2" fmla="*/ 1163845 w 1166217"/>
              <a:gd name="connsiteY2" fmla="*/ 894920 h 1375531"/>
              <a:gd name="connsiteX3" fmla="*/ 1068759 w 1166217"/>
              <a:gd name="connsiteY3" fmla="*/ 1041119 h 1375531"/>
              <a:gd name="connsiteX4" fmla="*/ 91282 w 1166217"/>
              <a:gd name="connsiteY4" fmla="*/ 1373391 h 1375531"/>
              <a:gd name="connsiteX5" fmla="*/ 0 w 1166217"/>
              <a:gd name="connsiteY5" fmla="*/ 1260419 h 1375531"/>
              <a:gd name="connsiteX6" fmla="*/ 380 w 1166217"/>
              <a:gd name="connsiteY6" fmla="*/ 2215 h 1375531"/>
              <a:gd name="connsiteX0" fmla="*/ 6420 w 1172257"/>
              <a:gd name="connsiteY0" fmla="*/ 2215 h 1399780"/>
              <a:gd name="connsiteX1" fmla="*/ 1172257 w 1172257"/>
              <a:gd name="connsiteY1" fmla="*/ 0 h 1399780"/>
              <a:gd name="connsiteX2" fmla="*/ 1169885 w 1172257"/>
              <a:gd name="connsiteY2" fmla="*/ 894920 h 1399780"/>
              <a:gd name="connsiteX3" fmla="*/ 1074799 w 1172257"/>
              <a:gd name="connsiteY3" fmla="*/ 1041119 h 1399780"/>
              <a:gd name="connsiteX4" fmla="*/ 93519 w 1172257"/>
              <a:gd name="connsiteY4" fmla="*/ 1360100 h 1399780"/>
              <a:gd name="connsiteX5" fmla="*/ 6040 w 1172257"/>
              <a:gd name="connsiteY5" fmla="*/ 1260419 h 1399780"/>
              <a:gd name="connsiteX6" fmla="*/ 6420 w 1172257"/>
              <a:gd name="connsiteY6" fmla="*/ 2215 h 1399780"/>
              <a:gd name="connsiteX0" fmla="*/ 6420 w 1172257"/>
              <a:gd name="connsiteY0" fmla="*/ 2215 h 1400114"/>
              <a:gd name="connsiteX1" fmla="*/ 1172257 w 1172257"/>
              <a:gd name="connsiteY1" fmla="*/ 0 h 1400114"/>
              <a:gd name="connsiteX2" fmla="*/ 1169885 w 1172257"/>
              <a:gd name="connsiteY2" fmla="*/ 894920 h 1400114"/>
              <a:gd name="connsiteX3" fmla="*/ 1074799 w 1172257"/>
              <a:gd name="connsiteY3" fmla="*/ 1041119 h 1400114"/>
              <a:gd name="connsiteX4" fmla="*/ 93519 w 1172257"/>
              <a:gd name="connsiteY4" fmla="*/ 1360100 h 1400114"/>
              <a:gd name="connsiteX5" fmla="*/ 6040 w 1172257"/>
              <a:gd name="connsiteY5" fmla="*/ 1260419 h 1400114"/>
              <a:gd name="connsiteX6" fmla="*/ 6420 w 1172257"/>
              <a:gd name="connsiteY6" fmla="*/ 2215 h 1400114"/>
              <a:gd name="connsiteX0" fmla="*/ 666 w 1166503"/>
              <a:gd name="connsiteY0" fmla="*/ 2215 h 1363444"/>
              <a:gd name="connsiteX1" fmla="*/ 1166503 w 1166503"/>
              <a:gd name="connsiteY1" fmla="*/ 0 h 1363444"/>
              <a:gd name="connsiteX2" fmla="*/ 1164131 w 1166503"/>
              <a:gd name="connsiteY2" fmla="*/ 894920 h 1363444"/>
              <a:gd name="connsiteX3" fmla="*/ 1069045 w 1166503"/>
              <a:gd name="connsiteY3" fmla="*/ 1041119 h 1363444"/>
              <a:gd name="connsiteX4" fmla="*/ 87765 w 1166503"/>
              <a:gd name="connsiteY4" fmla="*/ 1360100 h 1363444"/>
              <a:gd name="connsiteX5" fmla="*/ 286 w 1166503"/>
              <a:gd name="connsiteY5" fmla="*/ 1260419 h 1363444"/>
              <a:gd name="connsiteX6" fmla="*/ 666 w 1166503"/>
              <a:gd name="connsiteY6" fmla="*/ 2215 h 1363444"/>
              <a:gd name="connsiteX0" fmla="*/ 666 w 1168481"/>
              <a:gd name="connsiteY0" fmla="*/ 6645 h 1367874"/>
              <a:gd name="connsiteX1" fmla="*/ 1156995 w 1168481"/>
              <a:gd name="connsiteY1" fmla="*/ 0 h 1367874"/>
              <a:gd name="connsiteX2" fmla="*/ 1164131 w 1168481"/>
              <a:gd name="connsiteY2" fmla="*/ 899350 h 1367874"/>
              <a:gd name="connsiteX3" fmla="*/ 1069045 w 1168481"/>
              <a:gd name="connsiteY3" fmla="*/ 1045549 h 1367874"/>
              <a:gd name="connsiteX4" fmla="*/ 87765 w 1168481"/>
              <a:gd name="connsiteY4" fmla="*/ 1364530 h 1367874"/>
              <a:gd name="connsiteX5" fmla="*/ 286 w 1168481"/>
              <a:gd name="connsiteY5" fmla="*/ 1264849 h 1367874"/>
              <a:gd name="connsiteX6" fmla="*/ 666 w 1168481"/>
              <a:gd name="connsiteY6" fmla="*/ 6645 h 1367874"/>
              <a:gd name="connsiteX0" fmla="*/ 666 w 1169473"/>
              <a:gd name="connsiteY0" fmla="*/ 6645 h 1367874"/>
              <a:gd name="connsiteX1" fmla="*/ 1156995 w 1169473"/>
              <a:gd name="connsiteY1" fmla="*/ 0 h 1367874"/>
              <a:gd name="connsiteX2" fmla="*/ 1164131 w 1169473"/>
              <a:gd name="connsiteY2" fmla="*/ 899350 h 1367874"/>
              <a:gd name="connsiteX3" fmla="*/ 1069045 w 1169473"/>
              <a:gd name="connsiteY3" fmla="*/ 1045549 h 1367874"/>
              <a:gd name="connsiteX4" fmla="*/ 87765 w 1169473"/>
              <a:gd name="connsiteY4" fmla="*/ 1364530 h 1367874"/>
              <a:gd name="connsiteX5" fmla="*/ 286 w 1169473"/>
              <a:gd name="connsiteY5" fmla="*/ 1264849 h 1367874"/>
              <a:gd name="connsiteX6" fmla="*/ 666 w 1169473"/>
              <a:gd name="connsiteY6" fmla="*/ 6645 h 1367874"/>
              <a:gd name="connsiteX0" fmla="*/ 666 w 1162319"/>
              <a:gd name="connsiteY0" fmla="*/ 6645 h 1367874"/>
              <a:gd name="connsiteX1" fmla="*/ 1156995 w 1162319"/>
              <a:gd name="connsiteY1" fmla="*/ 0 h 1367874"/>
              <a:gd name="connsiteX2" fmla="*/ 1154622 w 1162319"/>
              <a:gd name="connsiteY2" fmla="*/ 886059 h 1367874"/>
              <a:gd name="connsiteX3" fmla="*/ 1069045 w 1162319"/>
              <a:gd name="connsiteY3" fmla="*/ 1045549 h 1367874"/>
              <a:gd name="connsiteX4" fmla="*/ 87765 w 1162319"/>
              <a:gd name="connsiteY4" fmla="*/ 1364530 h 1367874"/>
              <a:gd name="connsiteX5" fmla="*/ 286 w 1162319"/>
              <a:gd name="connsiteY5" fmla="*/ 1264849 h 1367874"/>
              <a:gd name="connsiteX6" fmla="*/ 666 w 1162319"/>
              <a:gd name="connsiteY6" fmla="*/ 6645 h 1367874"/>
              <a:gd name="connsiteX0" fmla="*/ 666 w 1157419"/>
              <a:gd name="connsiteY0" fmla="*/ 6645 h 1367874"/>
              <a:gd name="connsiteX1" fmla="*/ 1156995 w 1157419"/>
              <a:gd name="connsiteY1" fmla="*/ 0 h 1367874"/>
              <a:gd name="connsiteX2" fmla="*/ 1154622 w 1157419"/>
              <a:gd name="connsiteY2" fmla="*/ 886059 h 1367874"/>
              <a:gd name="connsiteX3" fmla="*/ 1069045 w 1157419"/>
              <a:gd name="connsiteY3" fmla="*/ 1045549 h 1367874"/>
              <a:gd name="connsiteX4" fmla="*/ 87765 w 1157419"/>
              <a:gd name="connsiteY4" fmla="*/ 1364530 h 1367874"/>
              <a:gd name="connsiteX5" fmla="*/ 286 w 1157419"/>
              <a:gd name="connsiteY5" fmla="*/ 1264849 h 1367874"/>
              <a:gd name="connsiteX6" fmla="*/ 666 w 1157419"/>
              <a:gd name="connsiteY6" fmla="*/ 6645 h 1367874"/>
              <a:gd name="connsiteX0" fmla="*/ 666 w 1157396"/>
              <a:gd name="connsiteY0" fmla="*/ 6645 h 1367874"/>
              <a:gd name="connsiteX1" fmla="*/ 1156995 w 1157396"/>
              <a:gd name="connsiteY1" fmla="*/ 0 h 1367874"/>
              <a:gd name="connsiteX2" fmla="*/ 1154622 w 1157396"/>
              <a:gd name="connsiteY2" fmla="*/ 886059 h 1367874"/>
              <a:gd name="connsiteX3" fmla="*/ 1069045 w 1157396"/>
              <a:gd name="connsiteY3" fmla="*/ 1045549 h 1367874"/>
              <a:gd name="connsiteX4" fmla="*/ 87765 w 1157396"/>
              <a:gd name="connsiteY4" fmla="*/ 1364530 h 1367874"/>
              <a:gd name="connsiteX5" fmla="*/ 286 w 1157396"/>
              <a:gd name="connsiteY5" fmla="*/ 1264849 h 1367874"/>
              <a:gd name="connsiteX6" fmla="*/ 666 w 1157396"/>
              <a:gd name="connsiteY6" fmla="*/ 6645 h 1367874"/>
              <a:gd name="connsiteX0" fmla="*/ 666 w 1157396"/>
              <a:gd name="connsiteY0" fmla="*/ 7103 h 1368332"/>
              <a:gd name="connsiteX1" fmla="*/ 183958 w 1157396"/>
              <a:gd name="connsiteY1" fmla="*/ 0 h 1368332"/>
              <a:gd name="connsiteX2" fmla="*/ 1156995 w 1157396"/>
              <a:gd name="connsiteY2" fmla="*/ 458 h 1368332"/>
              <a:gd name="connsiteX3" fmla="*/ 1154622 w 1157396"/>
              <a:gd name="connsiteY3" fmla="*/ 886517 h 1368332"/>
              <a:gd name="connsiteX4" fmla="*/ 1069045 w 1157396"/>
              <a:gd name="connsiteY4" fmla="*/ 1046007 h 1368332"/>
              <a:gd name="connsiteX5" fmla="*/ 87765 w 1157396"/>
              <a:gd name="connsiteY5" fmla="*/ 1364988 h 1368332"/>
              <a:gd name="connsiteX6" fmla="*/ 286 w 1157396"/>
              <a:gd name="connsiteY6" fmla="*/ 1265307 h 1368332"/>
              <a:gd name="connsiteX7" fmla="*/ 666 w 1157396"/>
              <a:gd name="connsiteY7" fmla="*/ 7103 h 1368332"/>
              <a:gd name="connsiteX0" fmla="*/ 14385 w 1171115"/>
              <a:gd name="connsiteY0" fmla="*/ 7103 h 1368332"/>
              <a:gd name="connsiteX1" fmla="*/ 197677 w 1171115"/>
              <a:gd name="connsiteY1" fmla="*/ 0 h 1368332"/>
              <a:gd name="connsiteX2" fmla="*/ 1170714 w 1171115"/>
              <a:gd name="connsiteY2" fmla="*/ 458 h 1368332"/>
              <a:gd name="connsiteX3" fmla="*/ 1168341 w 1171115"/>
              <a:gd name="connsiteY3" fmla="*/ 886517 h 1368332"/>
              <a:gd name="connsiteX4" fmla="*/ 1082764 w 1171115"/>
              <a:gd name="connsiteY4" fmla="*/ 1046007 h 1368332"/>
              <a:gd name="connsiteX5" fmla="*/ 101484 w 1171115"/>
              <a:gd name="connsiteY5" fmla="*/ 1364988 h 1368332"/>
              <a:gd name="connsiteX6" fmla="*/ 14005 w 1171115"/>
              <a:gd name="connsiteY6" fmla="*/ 1265307 h 1368332"/>
              <a:gd name="connsiteX7" fmla="*/ 12000 w 1171115"/>
              <a:gd name="connsiteY7" fmla="*/ 145300 h 1368332"/>
              <a:gd name="connsiteX8" fmla="*/ 14385 w 1171115"/>
              <a:gd name="connsiteY8" fmla="*/ 7103 h 1368332"/>
              <a:gd name="connsiteX0" fmla="*/ 16814 w 1175929"/>
              <a:gd name="connsiteY0" fmla="*/ 145300 h 1368332"/>
              <a:gd name="connsiteX1" fmla="*/ 202491 w 1175929"/>
              <a:gd name="connsiteY1" fmla="*/ 0 h 1368332"/>
              <a:gd name="connsiteX2" fmla="*/ 1175528 w 1175929"/>
              <a:gd name="connsiteY2" fmla="*/ 458 h 1368332"/>
              <a:gd name="connsiteX3" fmla="*/ 1173155 w 1175929"/>
              <a:gd name="connsiteY3" fmla="*/ 886517 h 1368332"/>
              <a:gd name="connsiteX4" fmla="*/ 1087578 w 1175929"/>
              <a:gd name="connsiteY4" fmla="*/ 1046007 h 1368332"/>
              <a:gd name="connsiteX5" fmla="*/ 106298 w 1175929"/>
              <a:gd name="connsiteY5" fmla="*/ 1364988 h 1368332"/>
              <a:gd name="connsiteX6" fmla="*/ 18819 w 1175929"/>
              <a:gd name="connsiteY6" fmla="*/ 1265307 h 1368332"/>
              <a:gd name="connsiteX7" fmla="*/ 16814 w 1175929"/>
              <a:gd name="connsiteY7" fmla="*/ 145300 h 1368332"/>
              <a:gd name="connsiteX0" fmla="*/ 16814 w 1175929"/>
              <a:gd name="connsiteY0" fmla="*/ 145300 h 1368332"/>
              <a:gd name="connsiteX1" fmla="*/ 202491 w 1175929"/>
              <a:gd name="connsiteY1" fmla="*/ 0 h 1368332"/>
              <a:gd name="connsiteX2" fmla="*/ 1175528 w 1175929"/>
              <a:gd name="connsiteY2" fmla="*/ 458 h 1368332"/>
              <a:gd name="connsiteX3" fmla="*/ 1173155 w 1175929"/>
              <a:gd name="connsiteY3" fmla="*/ 886517 h 1368332"/>
              <a:gd name="connsiteX4" fmla="*/ 1087578 w 1175929"/>
              <a:gd name="connsiteY4" fmla="*/ 1046007 h 1368332"/>
              <a:gd name="connsiteX5" fmla="*/ 106298 w 1175929"/>
              <a:gd name="connsiteY5" fmla="*/ 1364988 h 1368332"/>
              <a:gd name="connsiteX6" fmla="*/ 18819 w 1175929"/>
              <a:gd name="connsiteY6" fmla="*/ 1265307 h 1368332"/>
              <a:gd name="connsiteX7" fmla="*/ 16814 w 1175929"/>
              <a:gd name="connsiteY7" fmla="*/ 145300 h 1368332"/>
              <a:gd name="connsiteX0" fmla="*/ 4446 w 1163561"/>
              <a:gd name="connsiteY0" fmla="*/ 145300 h 1368332"/>
              <a:gd name="connsiteX1" fmla="*/ 190123 w 1163561"/>
              <a:gd name="connsiteY1" fmla="*/ 0 h 1368332"/>
              <a:gd name="connsiteX2" fmla="*/ 1163160 w 1163561"/>
              <a:gd name="connsiteY2" fmla="*/ 458 h 1368332"/>
              <a:gd name="connsiteX3" fmla="*/ 1160787 w 1163561"/>
              <a:gd name="connsiteY3" fmla="*/ 886517 h 1368332"/>
              <a:gd name="connsiteX4" fmla="*/ 1075210 w 1163561"/>
              <a:gd name="connsiteY4" fmla="*/ 1046007 h 1368332"/>
              <a:gd name="connsiteX5" fmla="*/ 93930 w 1163561"/>
              <a:gd name="connsiteY5" fmla="*/ 1364988 h 1368332"/>
              <a:gd name="connsiteX6" fmla="*/ 6451 w 1163561"/>
              <a:gd name="connsiteY6" fmla="*/ 1265307 h 1368332"/>
              <a:gd name="connsiteX7" fmla="*/ 4446 w 1163561"/>
              <a:gd name="connsiteY7" fmla="*/ 145300 h 1368332"/>
              <a:gd name="connsiteX0" fmla="*/ 4446 w 1163561"/>
              <a:gd name="connsiteY0" fmla="*/ 145300 h 1368332"/>
              <a:gd name="connsiteX1" fmla="*/ 190123 w 1163561"/>
              <a:gd name="connsiteY1" fmla="*/ 0 h 1368332"/>
              <a:gd name="connsiteX2" fmla="*/ 1163160 w 1163561"/>
              <a:gd name="connsiteY2" fmla="*/ 458 h 1368332"/>
              <a:gd name="connsiteX3" fmla="*/ 1160787 w 1163561"/>
              <a:gd name="connsiteY3" fmla="*/ 886517 h 1368332"/>
              <a:gd name="connsiteX4" fmla="*/ 1075210 w 1163561"/>
              <a:gd name="connsiteY4" fmla="*/ 1046007 h 1368332"/>
              <a:gd name="connsiteX5" fmla="*/ 93930 w 1163561"/>
              <a:gd name="connsiteY5" fmla="*/ 1364988 h 1368332"/>
              <a:gd name="connsiteX6" fmla="*/ 6451 w 1163561"/>
              <a:gd name="connsiteY6" fmla="*/ 1265307 h 1368332"/>
              <a:gd name="connsiteX7" fmla="*/ 4446 w 1163561"/>
              <a:gd name="connsiteY7" fmla="*/ 145300 h 1368332"/>
              <a:gd name="connsiteX0" fmla="*/ 4446 w 1163561"/>
              <a:gd name="connsiteY0" fmla="*/ 148041 h 1371073"/>
              <a:gd name="connsiteX1" fmla="*/ 228102 w 1163561"/>
              <a:gd name="connsiteY1" fmla="*/ 0 h 1371073"/>
              <a:gd name="connsiteX2" fmla="*/ 1163160 w 1163561"/>
              <a:gd name="connsiteY2" fmla="*/ 3199 h 1371073"/>
              <a:gd name="connsiteX3" fmla="*/ 1160787 w 1163561"/>
              <a:gd name="connsiteY3" fmla="*/ 889258 h 1371073"/>
              <a:gd name="connsiteX4" fmla="*/ 1075210 w 1163561"/>
              <a:gd name="connsiteY4" fmla="*/ 1048748 h 1371073"/>
              <a:gd name="connsiteX5" fmla="*/ 93930 w 1163561"/>
              <a:gd name="connsiteY5" fmla="*/ 1367729 h 1371073"/>
              <a:gd name="connsiteX6" fmla="*/ 6451 w 1163561"/>
              <a:gd name="connsiteY6" fmla="*/ 1268048 h 1371073"/>
              <a:gd name="connsiteX7" fmla="*/ 4446 w 1163561"/>
              <a:gd name="connsiteY7" fmla="*/ 148041 h 1371073"/>
              <a:gd name="connsiteX0" fmla="*/ 4446 w 1163561"/>
              <a:gd name="connsiteY0" fmla="*/ 148041 h 1371073"/>
              <a:gd name="connsiteX1" fmla="*/ 228102 w 1163561"/>
              <a:gd name="connsiteY1" fmla="*/ 0 h 1371073"/>
              <a:gd name="connsiteX2" fmla="*/ 1163160 w 1163561"/>
              <a:gd name="connsiteY2" fmla="*/ 3199 h 1371073"/>
              <a:gd name="connsiteX3" fmla="*/ 1160787 w 1163561"/>
              <a:gd name="connsiteY3" fmla="*/ 889258 h 1371073"/>
              <a:gd name="connsiteX4" fmla="*/ 1075210 w 1163561"/>
              <a:gd name="connsiteY4" fmla="*/ 1048748 h 1371073"/>
              <a:gd name="connsiteX5" fmla="*/ 93930 w 1163561"/>
              <a:gd name="connsiteY5" fmla="*/ 1367729 h 1371073"/>
              <a:gd name="connsiteX6" fmla="*/ 6451 w 1163561"/>
              <a:gd name="connsiteY6" fmla="*/ 1268048 h 1371073"/>
              <a:gd name="connsiteX7" fmla="*/ 4446 w 1163561"/>
              <a:gd name="connsiteY7" fmla="*/ 148041 h 1371073"/>
              <a:gd name="connsiteX0" fmla="*/ 4446 w 1163561"/>
              <a:gd name="connsiteY0" fmla="*/ 148041 h 1371073"/>
              <a:gd name="connsiteX1" fmla="*/ 228102 w 1163561"/>
              <a:gd name="connsiteY1" fmla="*/ 0 h 1371073"/>
              <a:gd name="connsiteX2" fmla="*/ 1163160 w 1163561"/>
              <a:gd name="connsiteY2" fmla="*/ 3199 h 1371073"/>
              <a:gd name="connsiteX3" fmla="*/ 1160787 w 1163561"/>
              <a:gd name="connsiteY3" fmla="*/ 889258 h 1371073"/>
              <a:gd name="connsiteX4" fmla="*/ 1075210 w 1163561"/>
              <a:gd name="connsiteY4" fmla="*/ 1048748 h 1371073"/>
              <a:gd name="connsiteX5" fmla="*/ 93930 w 1163561"/>
              <a:gd name="connsiteY5" fmla="*/ 1367729 h 1371073"/>
              <a:gd name="connsiteX6" fmla="*/ 6451 w 1163561"/>
              <a:gd name="connsiteY6" fmla="*/ 1268048 h 1371073"/>
              <a:gd name="connsiteX7" fmla="*/ 4446 w 1163561"/>
              <a:gd name="connsiteY7" fmla="*/ 148041 h 1371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63561" h="1371073">
                <a:moveTo>
                  <a:pt x="4446" y="148041"/>
                </a:moveTo>
                <a:cubicBezTo>
                  <a:pt x="13958" y="57783"/>
                  <a:pt x="98283" y="7692"/>
                  <a:pt x="228102" y="0"/>
                </a:cubicBezTo>
                <a:lnTo>
                  <a:pt x="1163160" y="3199"/>
                </a:lnTo>
                <a:cubicBezTo>
                  <a:pt x="1164999" y="271600"/>
                  <a:pt x="1159872" y="710571"/>
                  <a:pt x="1160787" y="889258"/>
                </a:cubicBezTo>
                <a:cubicBezTo>
                  <a:pt x="1161331" y="995461"/>
                  <a:pt x="1155081" y="1024381"/>
                  <a:pt x="1075210" y="1048748"/>
                </a:cubicBezTo>
                <a:cubicBezTo>
                  <a:pt x="749384" y="1159505"/>
                  <a:pt x="409899" y="1278998"/>
                  <a:pt x="93930" y="1367729"/>
                </a:cubicBezTo>
                <a:cubicBezTo>
                  <a:pt x="47270" y="1380832"/>
                  <a:pt x="7655" y="1357023"/>
                  <a:pt x="6451" y="1268048"/>
                </a:cubicBezTo>
                <a:cubicBezTo>
                  <a:pt x="-8463" y="1064767"/>
                  <a:pt x="7593" y="416497"/>
                  <a:pt x="4446" y="14804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lIns="251953" tIns="0" rIns="215960" bIns="0" anchor="b" anchorCtr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  <a:lvl2pPr marL="457116" indent="0">
              <a:buFontTx/>
              <a:buNone/>
              <a:defRPr/>
            </a:lvl2pPr>
            <a:lvl3pPr marL="914231" indent="0">
              <a:buFontTx/>
              <a:buNone/>
              <a:defRPr/>
            </a:lvl3pPr>
            <a:lvl4pPr marL="1263417" indent="0">
              <a:buFontTx/>
              <a:buNone/>
              <a:defRPr/>
            </a:lvl4pPr>
            <a:lvl5pPr marL="1599906" indent="0">
              <a:buFontTx/>
              <a:buNone/>
              <a:defRPr/>
            </a:lvl5pPr>
          </a:lstStyle>
          <a:p>
            <a:pPr lvl="0"/>
            <a:r>
              <a:rPr lang="es-ES_tradnl" dirty="0"/>
              <a:t>a</a:t>
            </a:r>
            <a:endParaRPr lang="es-ES" dirty="0"/>
          </a:p>
        </p:txBody>
      </p:sp>
      <p:sp>
        <p:nvSpPr>
          <p:cNvPr id="7" name="Marcador de posición de imagen 2"/>
          <p:cNvSpPr>
            <a:spLocks noGrp="1"/>
          </p:cNvSpPr>
          <p:nvPr>
            <p:ph type="pic" sz="quarter" idx="12"/>
          </p:nvPr>
        </p:nvSpPr>
        <p:spPr>
          <a:xfrm>
            <a:off x="-32732" y="1418281"/>
            <a:ext cx="9242422" cy="5490997"/>
          </a:xfrm>
          <a:custGeom>
            <a:avLst/>
            <a:gdLst>
              <a:gd name="connsiteX0" fmla="*/ 0 w 1295400"/>
              <a:gd name="connsiteY0" fmla="*/ 0 h 1295400"/>
              <a:gd name="connsiteX1" fmla="*/ 1295400 w 1295400"/>
              <a:gd name="connsiteY1" fmla="*/ 0 h 1295400"/>
              <a:gd name="connsiteX2" fmla="*/ 1295400 w 1295400"/>
              <a:gd name="connsiteY2" fmla="*/ 1295400 h 1295400"/>
              <a:gd name="connsiteX3" fmla="*/ 0 w 1295400"/>
              <a:gd name="connsiteY3" fmla="*/ 1295400 h 1295400"/>
              <a:gd name="connsiteX4" fmla="*/ 0 w 1295400"/>
              <a:gd name="connsiteY4" fmla="*/ 0 h 1295400"/>
              <a:gd name="connsiteX0" fmla="*/ 0 w 1295400"/>
              <a:gd name="connsiteY0" fmla="*/ 381000 h 1295400"/>
              <a:gd name="connsiteX1" fmla="*/ 1295400 w 1295400"/>
              <a:gd name="connsiteY1" fmla="*/ 0 h 1295400"/>
              <a:gd name="connsiteX2" fmla="*/ 1295400 w 1295400"/>
              <a:gd name="connsiteY2" fmla="*/ 1295400 h 1295400"/>
              <a:gd name="connsiteX3" fmla="*/ 0 w 1295400"/>
              <a:gd name="connsiteY3" fmla="*/ 1295400 h 1295400"/>
              <a:gd name="connsiteX4" fmla="*/ 0 w 1295400"/>
              <a:gd name="connsiteY4" fmla="*/ 381000 h 1295400"/>
              <a:gd name="connsiteX0" fmla="*/ 2646 w 1295400"/>
              <a:gd name="connsiteY0" fmla="*/ 575389 h 1295400"/>
              <a:gd name="connsiteX1" fmla="*/ 1295400 w 1295400"/>
              <a:gd name="connsiteY1" fmla="*/ 0 h 1295400"/>
              <a:gd name="connsiteX2" fmla="*/ 1295400 w 1295400"/>
              <a:gd name="connsiteY2" fmla="*/ 1295400 h 1295400"/>
              <a:gd name="connsiteX3" fmla="*/ 0 w 1295400"/>
              <a:gd name="connsiteY3" fmla="*/ 1295400 h 1295400"/>
              <a:gd name="connsiteX4" fmla="*/ 2646 w 1295400"/>
              <a:gd name="connsiteY4" fmla="*/ 575389 h 1295400"/>
              <a:gd name="connsiteX0" fmla="*/ 0 w 1299992"/>
              <a:gd name="connsiteY0" fmla="*/ 573663 h 1295400"/>
              <a:gd name="connsiteX1" fmla="*/ 1299992 w 1299992"/>
              <a:gd name="connsiteY1" fmla="*/ 0 h 1295400"/>
              <a:gd name="connsiteX2" fmla="*/ 1299992 w 1299992"/>
              <a:gd name="connsiteY2" fmla="*/ 1295400 h 1295400"/>
              <a:gd name="connsiteX3" fmla="*/ 4592 w 1299992"/>
              <a:gd name="connsiteY3" fmla="*/ 1295400 h 1295400"/>
              <a:gd name="connsiteX4" fmla="*/ 0 w 1299992"/>
              <a:gd name="connsiteY4" fmla="*/ 573663 h 1295400"/>
              <a:gd name="connsiteX0" fmla="*/ 45 w 1300037"/>
              <a:gd name="connsiteY0" fmla="*/ 573663 h 1295400"/>
              <a:gd name="connsiteX1" fmla="*/ 1300037 w 1300037"/>
              <a:gd name="connsiteY1" fmla="*/ 0 h 1295400"/>
              <a:gd name="connsiteX2" fmla="*/ 1300037 w 1300037"/>
              <a:gd name="connsiteY2" fmla="*/ 1295400 h 1295400"/>
              <a:gd name="connsiteX3" fmla="*/ 501 w 1300037"/>
              <a:gd name="connsiteY3" fmla="*/ 1291947 h 1295400"/>
              <a:gd name="connsiteX4" fmla="*/ 45 w 1300037"/>
              <a:gd name="connsiteY4" fmla="*/ 573663 h 1295400"/>
              <a:gd name="connsiteX0" fmla="*/ 45 w 1309343"/>
              <a:gd name="connsiteY0" fmla="*/ 573663 h 1291947"/>
              <a:gd name="connsiteX1" fmla="*/ 1300037 w 1309343"/>
              <a:gd name="connsiteY1" fmla="*/ 0 h 1291947"/>
              <a:gd name="connsiteX2" fmla="*/ 1309343 w 1309343"/>
              <a:gd name="connsiteY2" fmla="*/ 1291947 h 1291947"/>
              <a:gd name="connsiteX3" fmla="*/ 501 w 1309343"/>
              <a:gd name="connsiteY3" fmla="*/ 1291947 h 1291947"/>
              <a:gd name="connsiteX4" fmla="*/ 45 w 1309343"/>
              <a:gd name="connsiteY4" fmla="*/ 573663 h 1291947"/>
              <a:gd name="connsiteX0" fmla="*/ 45 w 1309343"/>
              <a:gd name="connsiteY0" fmla="*/ 580569 h 1298853"/>
              <a:gd name="connsiteX1" fmla="*/ 1306241 w 1309343"/>
              <a:gd name="connsiteY1" fmla="*/ 0 h 1298853"/>
              <a:gd name="connsiteX2" fmla="*/ 1309343 w 1309343"/>
              <a:gd name="connsiteY2" fmla="*/ 1298853 h 1298853"/>
              <a:gd name="connsiteX3" fmla="*/ 501 w 1309343"/>
              <a:gd name="connsiteY3" fmla="*/ 1298853 h 1298853"/>
              <a:gd name="connsiteX4" fmla="*/ 45 w 1309343"/>
              <a:gd name="connsiteY4" fmla="*/ 580569 h 1298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9343" h="1298853">
                <a:moveTo>
                  <a:pt x="45" y="580569"/>
                </a:moveTo>
                <a:lnTo>
                  <a:pt x="1306241" y="0"/>
                </a:lnTo>
                <a:lnTo>
                  <a:pt x="1309343" y="1298853"/>
                </a:lnTo>
                <a:lnTo>
                  <a:pt x="501" y="1298853"/>
                </a:lnTo>
                <a:cubicBezTo>
                  <a:pt x="-1030" y="1058274"/>
                  <a:pt x="1576" y="821148"/>
                  <a:pt x="45" y="580569"/>
                </a:cubicBezTo>
                <a:close/>
              </a:path>
            </a:pathLst>
          </a:custGeom>
          <a:ln>
            <a:noFill/>
          </a:ln>
        </p:spPr>
        <p:txBody>
          <a:bodyPr vert="horz" lIns="91423" tIns="45711" rIns="91423" bIns="45711" anchor="b" anchorCtr="0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endParaRPr lang="es-ES" dirty="0"/>
          </a:p>
        </p:txBody>
      </p:sp>
      <p:sp>
        <p:nvSpPr>
          <p:cNvPr id="8" name="Marcador de texto 2"/>
          <p:cNvSpPr>
            <a:spLocks noGrp="1"/>
          </p:cNvSpPr>
          <p:nvPr>
            <p:ph type="body" sz="quarter" idx="15" hasCustomPrompt="1"/>
          </p:nvPr>
        </p:nvSpPr>
        <p:spPr>
          <a:xfrm>
            <a:off x="1636713" y="1375935"/>
            <a:ext cx="3966332" cy="47259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800" spc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s-ES_tradnl" dirty="0"/>
              <a:t>Programa</a:t>
            </a:r>
            <a:endParaRPr lang="es-ES" dirty="0"/>
          </a:p>
        </p:txBody>
      </p:sp>
      <p:sp>
        <p:nvSpPr>
          <p:cNvPr id="9" name="Marcador de texto 4"/>
          <p:cNvSpPr>
            <a:spLocks noGrp="1"/>
          </p:cNvSpPr>
          <p:nvPr>
            <p:ph type="body" sz="quarter" idx="14" hasCustomPrompt="1"/>
          </p:nvPr>
        </p:nvSpPr>
        <p:spPr>
          <a:xfrm>
            <a:off x="1343707" y="2066968"/>
            <a:ext cx="5209777" cy="4173615"/>
          </a:xfrm>
          <a:custGeom>
            <a:avLst/>
            <a:gdLst>
              <a:gd name="connsiteX0" fmla="*/ 0 w 1152525"/>
              <a:gd name="connsiteY0" fmla="*/ 0 h 1295400"/>
              <a:gd name="connsiteX1" fmla="*/ 1152525 w 1152525"/>
              <a:gd name="connsiteY1" fmla="*/ 0 h 1295400"/>
              <a:gd name="connsiteX2" fmla="*/ 1152525 w 1152525"/>
              <a:gd name="connsiteY2" fmla="*/ 1295400 h 1295400"/>
              <a:gd name="connsiteX3" fmla="*/ 0 w 1152525"/>
              <a:gd name="connsiteY3" fmla="*/ 1295400 h 1295400"/>
              <a:gd name="connsiteX4" fmla="*/ 0 w 1152525"/>
              <a:gd name="connsiteY4" fmla="*/ 0 h 1295400"/>
              <a:gd name="connsiteX0" fmla="*/ 0 w 1165225"/>
              <a:gd name="connsiteY0" fmla="*/ 0 h 1295400"/>
              <a:gd name="connsiteX1" fmla="*/ 1152525 w 1165225"/>
              <a:gd name="connsiteY1" fmla="*/ 0 h 1295400"/>
              <a:gd name="connsiteX2" fmla="*/ 1165225 w 1165225"/>
              <a:gd name="connsiteY2" fmla="*/ 838200 h 1295400"/>
              <a:gd name="connsiteX3" fmla="*/ 0 w 1165225"/>
              <a:gd name="connsiteY3" fmla="*/ 1295400 h 1295400"/>
              <a:gd name="connsiteX4" fmla="*/ 0 w 1165225"/>
              <a:gd name="connsiteY4" fmla="*/ 0 h 1295400"/>
              <a:gd name="connsiteX0" fmla="*/ 9509 w 1174734"/>
              <a:gd name="connsiteY0" fmla="*/ 0 h 1421663"/>
              <a:gd name="connsiteX1" fmla="*/ 1162034 w 1174734"/>
              <a:gd name="connsiteY1" fmla="*/ 0 h 1421663"/>
              <a:gd name="connsiteX2" fmla="*/ 1174734 w 1174734"/>
              <a:gd name="connsiteY2" fmla="*/ 838200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4734"/>
              <a:gd name="connsiteY0" fmla="*/ 0 h 1421663"/>
              <a:gd name="connsiteX1" fmla="*/ 1162034 w 1174734"/>
              <a:gd name="connsiteY1" fmla="*/ 0 h 1421663"/>
              <a:gd name="connsiteX2" fmla="*/ 1174734 w 1174734"/>
              <a:gd name="connsiteY2" fmla="*/ 1010981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4734"/>
              <a:gd name="connsiteY0" fmla="*/ 0 h 1421663"/>
              <a:gd name="connsiteX1" fmla="*/ 1169641 w 1174734"/>
              <a:gd name="connsiteY1" fmla="*/ 0 h 1421663"/>
              <a:gd name="connsiteX2" fmla="*/ 1174734 w 1174734"/>
              <a:gd name="connsiteY2" fmla="*/ 1010981 h 1421663"/>
              <a:gd name="connsiteX3" fmla="*/ 0 w 1174734"/>
              <a:gd name="connsiteY3" fmla="*/ 1421663 h 1421663"/>
              <a:gd name="connsiteX4" fmla="*/ 9509 w 1174734"/>
              <a:gd name="connsiteY4" fmla="*/ 0 h 1421663"/>
              <a:gd name="connsiteX0" fmla="*/ 9509 w 1175774"/>
              <a:gd name="connsiteY0" fmla="*/ 2215 h 1423878"/>
              <a:gd name="connsiteX1" fmla="*/ 1175346 w 1175774"/>
              <a:gd name="connsiteY1" fmla="*/ 0 h 1423878"/>
              <a:gd name="connsiteX2" fmla="*/ 1174734 w 1175774"/>
              <a:gd name="connsiteY2" fmla="*/ 1013196 h 1423878"/>
              <a:gd name="connsiteX3" fmla="*/ 0 w 1175774"/>
              <a:gd name="connsiteY3" fmla="*/ 1423878 h 1423878"/>
              <a:gd name="connsiteX4" fmla="*/ 9509 w 1175774"/>
              <a:gd name="connsiteY4" fmla="*/ 2215 h 1423878"/>
              <a:gd name="connsiteX0" fmla="*/ 5706 w 1171971"/>
              <a:gd name="connsiteY0" fmla="*/ 2215 h 1421663"/>
              <a:gd name="connsiteX1" fmla="*/ 1171543 w 1171971"/>
              <a:gd name="connsiteY1" fmla="*/ 0 h 1421663"/>
              <a:gd name="connsiteX2" fmla="*/ 1170931 w 1171971"/>
              <a:gd name="connsiteY2" fmla="*/ 1013196 h 1421663"/>
              <a:gd name="connsiteX3" fmla="*/ 0 w 1171971"/>
              <a:gd name="connsiteY3" fmla="*/ 1421663 h 1421663"/>
              <a:gd name="connsiteX4" fmla="*/ 5706 w 1171971"/>
              <a:gd name="connsiteY4" fmla="*/ 2215 h 1421663"/>
              <a:gd name="connsiteX0" fmla="*/ 916 w 1167181"/>
              <a:gd name="connsiteY0" fmla="*/ 2215 h 1417233"/>
              <a:gd name="connsiteX1" fmla="*/ 1166753 w 1167181"/>
              <a:gd name="connsiteY1" fmla="*/ 0 h 1417233"/>
              <a:gd name="connsiteX2" fmla="*/ 1166141 w 1167181"/>
              <a:gd name="connsiteY2" fmla="*/ 1013196 h 1417233"/>
              <a:gd name="connsiteX3" fmla="*/ 915 w 1167181"/>
              <a:gd name="connsiteY3" fmla="*/ 1417233 h 1417233"/>
              <a:gd name="connsiteX4" fmla="*/ 916 w 1167181"/>
              <a:gd name="connsiteY4" fmla="*/ 2215 h 1417233"/>
              <a:gd name="connsiteX0" fmla="*/ 916 w 1167181"/>
              <a:gd name="connsiteY0" fmla="*/ 2215 h 1403942"/>
              <a:gd name="connsiteX1" fmla="*/ 1166753 w 1167181"/>
              <a:gd name="connsiteY1" fmla="*/ 0 h 1403942"/>
              <a:gd name="connsiteX2" fmla="*/ 1166141 w 1167181"/>
              <a:gd name="connsiteY2" fmla="*/ 1013196 h 1403942"/>
              <a:gd name="connsiteX3" fmla="*/ 915 w 1167181"/>
              <a:gd name="connsiteY3" fmla="*/ 1403942 h 1403942"/>
              <a:gd name="connsiteX4" fmla="*/ 916 w 1167181"/>
              <a:gd name="connsiteY4" fmla="*/ 2215 h 1403942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86483 w 1252749"/>
              <a:gd name="connsiteY3" fmla="*/ 1403942 h 1438510"/>
              <a:gd name="connsiteX4" fmla="*/ 86104 w 1252749"/>
              <a:gd name="connsiteY4" fmla="*/ 1260419 h 1438510"/>
              <a:gd name="connsiteX5" fmla="*/ 86484 w 1252749"/>
              <a:gd name="connsiteY5" fmla="*/ 2215 h 1438510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177386 w 1252749"/>
              <a:gd name="connsiteY3" fmla="*/ 1373391 h 1438510"/>
              <a:gd name="connsiteX4" fmla="*/ 86483 w 1252749"/>
              <a:gd name="connsiteY4" fmla="*/ 1403942 h 1438510"/>
              <a:gd name="connsiteX5" fmla="*/ 86104 w 1252749"/>
              <a:gd name="connsiteY5" fmla="*/ 1260419 h 1438510"/>
              <a:gd name="connsiteX6" fmla="*/ 86484 w 1252749"/>
              <a:gd name="connsiteY6" fmla="*/ 2215 h 1438510"/>
              <a:gd name="connsiteX0" fmla="*/ 86484 w 1252749"/>
              <a:gd name="connsiteY0" fmla="*/ 2215 h 1438510"/>
              <a:gd name="connsiteX1" fmla="*/ 1252321 w 1252749"/>
              <a:gd name="connsiteY1" fmla="*/ 0 h 1438510"/>
              <a:gd name="connsiteX2" fmla="*/ 1251709 w 1252749"/>
              <a:gd name="connsiteY2" fmla="*/ 1013196 h 1438510"/>
              <a:gd name="connsiteX3" fmla="*/ 1154863 w 1252749"/>
              <a:gd name="connsiteY3" fmla="*/ 1041119 h 1438510"/>
              <a:gd name="connsiteX4" fmla="*/ 177386 w 1252749"/>
              <a:gd name="connsiteY4" fmla="*/ 1373391 h 1438510"/>
              <a:gd name="connsiteX5" fmla="*/ 86483 w 1252749"/>
              <a:gd name="connsiteY5" fmla="*/ 1403942 h 1438510"/>
              <a:gd name="connsiteX6" fmla="*/ 86104 w 1252749"/>
              <a:gd name="connsiteY6" fmla="*/ 1260419 h 1438510"/>
              <a:gd name="connsiteX7" fmla="*/ 86484 w 1252749"/>
              <a:gd name="connsiteY7" fmla="*/ 2215 h 1438510"/>
              <a:gd name="connsiteX0" fmla="*/ 86484 w 1337915"/>
              <a:gd name="connsiteY0" fmla="*/ 2215 h 1438510"/>
              <a:gd name="connsiteX1" fmla="*/ 1252321 w 1337915"/>
              <a:gd name="connsiteY1" fmla="*/ 0 h 1438510"/>
              <a:gd name="connsiteX2" fmla="*/ 1249949 w 1337915"/>
              <a:gd name="connsiteY2" fmla="*/ 894920 h 1438510"/>
              <a:gd name="connsiteX3" fmla="*/ 1251709 w 1337915"/>
              <a:gd name="connsiteY3" fmla="*/ 1013196 h 1438510"/>
              <a:gd name="connsiteX4" fmla="*/ 1154863 w 1337915"/>
              <a:gd name="connsiteY4" fmla="*/ 1041119 h 1438510"/>
              <a:gd name="connsiteX5" fmla="*/ 177386 w 1337915"/>
              <a:gd name="connsiteY5" fmla="*/ 1373391 h 1438510"/>
              <a:gd name="connsiteX6" fmla="*/ 86483 w 1337915"/>
              <a:gd name="connsiteY6" fmla="*/ 1403942 h 1438510"/>
              <a:gd name="connsiteX7" fmla="*/ 86104 w 1337915"/>
              <a:gd name="connsiteY7" fmla="*/ 1260419 h 1438510"/>
              <a:gd name="connsiteX8" fmla="*/ 86484 w 1337915"/>
              <a:gd name="connsiteY8" fmla="*/ 2215 h 1438510"/>
              <a:gd name="connsiteX0" fmla="*/ 86484 w 1341572"/>
              <a:gd name="connsiteY0" fmla="*/ 2215 h 1438510"/>
              <a:gd name="connsiteX1" fmla="*/ 1252321 w 1341572"/>
              <a:gd name="connsiteY1" fmla="*/ 0 h 1438510"/>
              <a:gd name="connsiteX2" fmla="*/ 1249949 w 1341572"/>
              <a:gd name="connsiteY2" fmla="*/ 894920 h 1438510"/>
              <a:gd name="connsiteX3" fmla="*/ 1154863 w 1341572"/>
              <a:gd name="connsiteY3" fmla="*/ 1041119 h 1438510"/>
              <a:gd name="connsiteX4" fmla="*/ 177386 w 1341572"/>
              <a:gd name="connsiteY4" fmla="*/ 1373391 h 1438510"/>
              <a:gd name="connsiteX5" fmla="*/ 86483 w 1341572"/>
              <a:gd name="connsiteY5" fmla="*/ 1403942 h 1438510"/>
              <a:gd name="connsiteX6" fmla="*/ 86104 w 1341572"/>
              <a:gd name="connsiteY6" fmla="*/ 1260419 h 1438510"/>
              <a:gd name="connsiteX7" fmla="*/ 86484 w 1341572"/>
              <a:gd name="connsiteY7" fmla="*/ 2215 h 1438510"/>
              <a:gd name="connsiteX0" fmla="*/ 86484 w 1341572"/>
              <a:gd name="connsiteY0" fmla="*/ 2215 h 1373391"/>
              <a:gd name="connsiteX1" fmla="*/ 1252321 w 1341572"/>
              <a:gd name="connsiteY1" fmla="*/ 0 h 1373391"/>
              <a:gd name="connsiteX2" fmla="*/ 1249949 w 1341572"/>
              <a:gd name="connsiteY2" fmla="*/ 894920 h 1373391"/>
              <a:gd name="connsiteX3" fmla="*/ 1154863 w 1341572"/>
              <a:gd name="connsiteY3" fmla="*/ 1041119 h 1373391"/>
              <a:gd name="connsiteX4" fmla="*/ 177386 w 1341572"/>
              <a:gd name="connsiteY4" fmla="*/ 1373391 h 1373391"/>
              <a:gd name="connsiteX5" fmla="*/ 86104 w 1341572"/>
              <a:gd name="connsiteY5" fmla="*/ 1260419 h 1373391"/>
              <a:gd name="connsiteX6" fmla="*/ 86484 w 1341572"/>
              <a:gd name="connsiteY6" fmla="*/ 2215 h 1373391"/>
              <a:gd name="connsiteX0" fmla="*/ 86484 w 1341572"/>
              <a:gd name="connsiteY0" fmla="*/ 2215 h 1380291"/>
              <a:gd name="connsiteX1" fmla="*/ 1252321 w 1341572"/>
              <a:gd name="connsiteY1" fmla="*/ 0 h 1380291"/>
              <a:gd name="connsiteX2" fmla="*/ 1249949 w 1341572"/>
              <a:gd name="connsiteY2" fmla="*/ 894920 h 1380291"/>
              <a:gd name="connsiteX3" fmla="*/ 1154863 w 1341572"/>
              <a:gd name="connsiteY3" fmla="*/ 1041119 h 1380291"/>
              <a:gd name="connsiteX4" fmla="*/ 177386 w 1341572"/>
              <a:gd name="connsiteY4" fmla="*/ 1373391 h 1380291"/>
              <a:gd name="connsiteX5" fmla="*/ 86104 w 1341572"/>
              <a:gd name="connsiteY5" fmla="*/ 1260419 h 1380291"/>
              <a:gd name="connsiteX6" fmla="*/ 86484 w 1341572"/>
              <a:gd name="connsiteY6" fmla="*/ 2215 h 1380291"/>
              <a:gd name="connsiteX0" fmla="*/ 86484 w 1341572"/>
              <a:gd name="connsiteY0" fmla="*/ 2215 h 1425606"/>
              <a:gd name="connsiteX1" fmla="*/ 1252321 w 1341572"/>
              <a:gd name="connsiteY1" fmla="*/ 0 h 1425606"/>
              <a:gd name="connsiteX2" fmla="*/ 1249949 w 1341572"/>
              <a:gd name="connsiteY2" fmla="*/ 894920 h 1425606"/>
              <a:gd name="connsiteX3" fmla="*/ 1154863 w 1341572"/>
              <a:gd name="connsiteY3" fmla="*/ 1041119 h 1425606"/>
              <a:gd name="connsiteX4" fmla="*/ 177386 w 1341572"/>
              <a:gd name="connsiteY4" fmla="*/ 1373391 h 1425606"/>
              <a:gd name="connsiteX5" fmla="*/ 86104 w 1341572"/>
              <a:gd name="connsiteY5" fmla="*/ 1260419 h 1425606"/>
              <a:gd name="connsiteX6" fmla="*/ 86484 w 1341572"/>
              <a:gd name="connsiteY6" fmla="*/ 2215 h 1425606"/>
              <a:gd name="connsiteX0" fmla="*/ 86484 w 1341572"/>
              <a:gd name="connsiteY0" fmla="*/ 2215 h 1410556"/>
              <a:gd name="connsiteX1" fmla="*/ 1252321 w 1341572"/>
              <a:gd name="connsiteY1" fmla="*/ 0 h 1410556"/>
              <a:gd name="connsiteX2" fmla="*/ 1249949 w 1341572"/>
              <a:gd name="connsiteY2" fmla="*/ 894920 h 1410556"/>
              <a:gd name="connsiteX3" fmla="*/ 1154863 w 1341572"/>
              <a:gd name="connsiteY3" fmla="*/ 1041119 h 1410556"/>
              <a:gd name="connsiteX4" fmla="*/ 177386 w 1341572"/>
              <a:gd name="connsiteY4" fmla="*/ 1373391 h 1410556"/>
              <a:gd name="connsiteX5" fmla="*/ 86104 w 1341572"/>
              <a:gd name="connsiteY5" fmla="*/ 1260419 h 1410556"/>
              <a:gd name="connsiteX6" fmla="*/ 86484 w 1341572"/>
              <a:gd name="connsiteY6" fmla="*/ 2215 h 1410556"/>
              <a:gd name="connsiteX0" fmla="*/ 86484 w 1341572"/>
              <a:gd name="connsiteY0" fmla="*/ 2215 h 1416904"/>
              <a:gd name="connsiteX1" fmla="*/ 1252321 w 1341572"/>
              <a:gd name="connsiteY1" fmla="*/ 0 h 1416904"/>
              <a:gd name="connsiteX2" fmla="*/ 1249949 w 1341572"/>
              <a:gd name="connsiteY2" fmla="*/ 894920 h 1416904"/>
              <a:gd name="connsiteX3" fmla="*/ 1154863 w 1341572"/>
              <a:gd name="connsiteY3" fmla="*/ 1041119 h 1416904"/>
              <a:gd name="connsiteX4" fmla="*/ 177386 w 1341572"/>
              <a:gd name="connsiteY4" fmla="*/ 1373391 h 1416904"/>
              <a:gd name="connsiteX5" fmla="*/ 86104 w 1341572"/>
              <a:gd name="connsiteY5" fmla="*/ 1260419 h 1416904"/>
              <a:gd name="connsiteX6" fmla="*/ 86484 w 1341572"/>
              <a:gd name="connsiteY6" fmla="*/ 2215 h 1416904"/>
              <a:gd name="connsiteX0" fmla="*/ 86484 w 1341572"/>
              <a:gd name="connsiteY0" fmla="*/ 2215 h 1383845"/>
              <a:gd name="connsiteX1" fmla="*/ 1252321 w 1341572"/>
              <a:gd name="connsiteY1" fmla="*/ 0 h 1383845"/>
              <a:gd name="connsiteX2" fmla="*/ 1249949 w 1341572"/>
              <a:gd name="connsiteY2" fmla="*/ 894920 h 1383845"/>
              <a:gd name="connsiteX3" fmla="*/ 1154863 w 1341572"/>
              <a:gd name="connsiteY3" fmla="*/ 1041119 h 1383845"/>
              <a:gd name="connsiteX4" fmla="*/ 177386 w 1341572"/>
              <a:gd name="connsiteY4" fmla="*/ 1373391 h 1383845"/>
              <a:gd name="connsiteX5" fmla="*/ 86104 w 1341572"/>
              <a:gd name="connsiteY5" fmla="*/ 1260419 h 1383845"/>
              <a:gd name="connsiteX6" fmla="*/ 86484 w 1341572"/>
              <a:gd name="connsiteY6" fmla="*/ 2215 h 1383845"/>
              <a:gd name="connsiteX0" fmla="*/ 86484 w 1341572"/>
              <a:gd name="connsiteY0" fmla="*/ 2215 h 1375531"/>
              <a:gd name="connsiteX1" fmla="*/ 1252321 w 1341572"/>
              <a:gd name="connsiteY1" fmla="*/ 0 h 1375531"/>
              <a:gd name="connsiteX2" fmla="*/ 1249949 w 1341572"/>
              <a:gd name="connsiteY2" fmla="*/ 894920 h 1375531"/>
              <a:gd name="connsiteX3" fmla="*/ 1154863 w 1341572"/>
              <a:gd name="connsiteY3" fmla="*/ 1041119 h 1375531"/>
              <a:gd name="connsiteX4" fmla="*/ 177386 w 1341572"/>
              <a:gd name="connsiteY4" fmla="*/ 1373391 h 1375531"/>
              <a:gd name="connsiteX5" fmla="*/ 86104 w 1341572"/>
              <a:gd name="connsiteY5" fmla="*/ 1260419 h 1375531"/>
              <a:gd name="connsiteX6" fmla="*/ 86484 w 1341572"/>
              <a:gd name="connsiteY6" fmla="*/ 2215 h 1375531"/>
              <a:gd name="connsiteX0" fmla="*/ 86484 w 1341572"/>
              <a:gd name="connsiteY0" fmla="*/ 2215 h 1375531"/>
              <a:gd name="connsiteX1" fmla="*/ 1252321 w 1341572"/>
              <a:gd name="connsiteY1" fmla="*/ 0 h 1375531"/>
              <a:gd name="connsiteX2" fmla="*/ 1249949 w 1341572"/>
              <a:gd name="connsiteY2" fmla="*/ 894920 h 1375531"/>
              <a:gd name="connsiteX3" fmla="*/ 1154863 w 1341572"/>
              <a:gd name="connsiteY3" fmla="*/ 1041119 h 1375531"/>
              <a:gd name="connsiteX4" fmla="*/ 177386 w 1341572"/>
              <a:gd name="connsiteY4" fmla="*/ 1373391 h 1375531"/>
              <a:gd name="connsiteX5" fmla="*/ 86104 w 1341572"/>
              <a:gd name="connsiteY5" fmla="*/ 1260419 h 1375531"/>
              <a:gd name="connsiteX6" fmla="*/ 86484 w 1341572"/>
              <a:gd name="connsiteY6" fmla="*/ 2215 h 1375531"/>
              <a:gd name="connsiteX0" fmla="*/ 380 w 1255468"/>
              <a:gd name="connsiteY0" fmla="*/ 2215 h 1375531"/>
              <a:gd name="connsiteX1" fmla="*/ 1166217 w 1255468"/>
              <a:gd name="connsiteY1" fmla="*/ 0 h 1375531"/>
              <a:gd name="connsiteX2" fmla="*/ 1163845 w 1255468"/>
              <a:gd name="connsiteY2" fmla="*/ 894920 h 1375531"/>
              <a:gd name="connsiteX3" fmla="*/ 1068759 w 1255468"/>
              <a:gd name="connsiteY3" fmla="*/ 1041119 h 1375531"/>
              <a:gd name="connsiteX4" fmla="*/ 91282 w 1255468"/>
              <a:gd name="connsiteY4" fmla="*/ 1373391 h 1375531"/>
              <a:gd name="connsiteX5" fmla="*/ 0 w 1255468"/>
              <a:gd name="connsiteY5" fmla="*/ 1260419 h 1375531"/>
              <a:gd name="connsiteX6" fmla="*/ 380 w 1255468"/>
              <a:gd name="connsiteY6" fmla="*/ 2215 h 1375531"/>
              <a:gd name="connsiteX0" fmla="*/ 380 w 1177259"/>
              <a:gd name="connsiteY0" fmla="*/ 2215 h 1375531"/>
              <a:gd name="connsiteX1" fmla="*/ 1166217 w 1177259"/>
              <a:gd name="connsiteY1" fmla="*/ 0 h 1375531"/>
              <a:gd name="connsiteX2" fmla="*/ 1163845 w 1177259"/>
              <a:gd name="connsiteY2" fmla="*/ 894920 h 1375531"/>
              <a:gd name="connsiteX3" fmla="*/ 1068759 w 1177259"/>
              <a:gd name="connsiteY3" fmla="*/ 1041119 h 1375531"/>
              <a:gd name="connsiteX4" fmla="*/ 91282 w 1177259"/>
              <a:gd name="connsiteY4" fmla="*/ 1373391 h 1375531"/>
              <a:gd name="connsiteX5" fmla="*/ 0 w 1177259"/>
              <a:gd name="connsiteY5" fmla="*/ 1260419 h 1375531"/>
              <a:gd name="connsiteX6" fmla="*/ 380 w 1177259"/>
              <a:gd name="connsiteY6" fmla="*/ 2215 h 1375531"/>
              <a:gd name="connsiteX0" fmla="*/ 380 w 1190511"/>
              <a:gd name="connsiteY0" fmla="*/ 2215 h 1375531"/>
              <a:gd name="connsiteX1" fmla="*/ 1166217 w 1190511"/>
              <a:gd name="connsiteY1" fmla="*/ 0 h 1375531"/>
              <a:gd name="connsiteX2" fmla="*/ 1163845 w 1190511"/>
              <a:gd name="connsiteY2" fmla="*/ 894920 h 1375531"/>
              <a:gd name="connsiteX3" fmla="*/ 1068759 w 1190511"/>
              <a:gd name="connsiteY3" fmla="*/ 1041119 h 1375531"/>
              <a:gd name="connsiteX4" fmla="*/ 91282 w 1190511"/>
              <a:gd name="connsiteY4" fmla="*/ 1373391 h 1375531"/>
              <a:gd name="connsiteX5" fmla="*/ 0 w 1190511"/>
              <a:gd name="connsiteY5" fmla="*/ 1260419 h 1375531"/>
              <a:gd name="connsiteX6" fmla="*/ 380 w 1190511"/>
              <a:gd name="connsiteY6" fmla="*/ 2215 h 1375531"/>
              <a:gd name="connsiteX0" fmla="*/ 380 w 1246984"/>
              <a:gd name="connsiteY0" fmla="*/ 2215 h 1375531"/>
              <a:gd name="connsiteX1" fmla="*/ 1166217 w 1246984"/>
              <a:gd name="connsiteY1" fmla="*/ 0 h 1375531"/>
              <a:gd name="connsiteX2" fmla="*/ 1163845 w 1246984"/>
              <a:gd name="connsiteY2" fmla="*/ 894920 h 1375531"/>
              <a:gd name="connsiteX3" fmla="*/ 1068759 w 1246984"/>
              <a:gd name="connsiteY3" fmla="*/ 1041119 h 1375531"/>
              <a:gd name="connsiteX4" fmla="*/ 91282 w 1246984"/>
              <a:gd name="connsiteY4" fmla="*/ 1373391 h 1375531"/>
              <a:gd name="connsiteX5" fmla="*/ 0 w 1246984"/>
              <a:gd name="connsiteY5" fmla="*/ 1260419 h 1375531"/>
              <a:gd name="connsiteX6" fmla="*/ 380 w 1246984"/>
              <a:gd name="connsiteY6" fmla="*/ 2215 h 1375531"/>
              <a:gd name="connsiteX0" fmla="*/ 380 w 1190511"/>
              <a:gd name="connsiteY0" fmla="*/ 2215 h 1375531"/>
              <a:gd name="connsiteX1" fmla="*/ 1166217 w 1190511"/>
              <a:gd name="connsiteY1" fmla="*/ 0 h 1375531"/>
              <a:gd name="connsiteX2" fmla="*/ 1163845 w 1190511"/>
              <a:gd name="connsiteY2" fmla="*/ 894920 h 1375531"/>
              <a:gd name="connsiteX3" fmla="*/ 1068759 w 1190511"/>
              <a:gd name="connsiteY3" fmla="*/ 1041119 h 1375531"/>
              <a:gd name="connsiteX4" fmla="*/ 91282 w 1190511"/>
              <a:gd name="connsiteY4" fmla="*/ 1373391 h 1375531"/>
              <a:gd name="connsiteX5" fmla="*/ 0 w 1190511"/>
              <a:gd name="connsiteY5" fmla="*/ 1260419 h 1375531"/>
              <a:gd name="connsiteX6" fmla="*/ 380 w 1190511"/>
              <a:gd name="connsiteY6" fmla="*/ 2215 h 1375531"/>
              <a:gd name="connsiteX0" fmla="*/ 380 w 1183009"/>
              <a:gd name="connsiteY0" fmla="*/ 2215 h 1375531"/>
              <a:gd name="connsiteX1" fmla="*/ 1166217 w 1183009"/>
              <a:gd name="connsiteY1" fmla="*/ 0 h 1375531"/>
              <a:gd name="connsiteX2" fmla="*/ 1163845 w 1183009"/>
              <a:gd name="connsiteY2" fmla="*/ 894920 h 1375531"/>
              <a:gd name="connsiteX3" fmla="*/ 1068759 w 1183009"/>
              <a:gd name="connsiteY3" fmla="*/ 1041119 h 1375531"/>
              <a:gd name="connsiteX4" fmla="*/ 91282 w 1183009"/>
              <a:gd name="connsiteY4" fmla="*/ 1373391 h 1375531"/>
              <a:gd name="connsiteX5" fmla="*/ 0 w 1183009"/>
              <a:gd name="connsiteY5" fmla="*/ 1260419 h 1375531"/>
              <a:gd name="connsiteX6" fmla="*/ 380 w 1183009"/>
              <a:gd name="connsiteY6" fmla="*/ 2215 h 1375531"/>
              <a:gd name="connsiteX0" fmla="*/ 380 w 1166217"/>
              <a:gd name="connsiteY0" fmla="*/ 2215 h 1375531"/>
              <a:gd name="connsiteX1" fmla="*/ 1166217 w 1166217"/>
              <a:gd name="connsiteY1" fmla="*/ 0 h 1375531"/>
              <a:gd name="connsiteX2" fmla="*/ 1163845 w 1166217"/>
              <a:gd name="connsiteY2" fmla="*/ 894920 h 1375531"/>
              <a:gd name="connsiteX3" fmla="*/ 1068759 w 1166217"/>
              <a:gd name="connsiteY3" fmla="*/ 1041119 h 1375531"/>
              <a:gd name="connsiteX4" fmla="*/ 91282 w 1166217"/>
              <a:gd name="connsiteY4" fmla="*/ 1373391 h 1375531"/>
              <a:gd name="connsiteX5" fmla="*/ 0 w 1166217"/>
              <a:gd name="connsiteY5" fmla="*/ 1260419 h 1375531"/>
              <a:gd name="connsiteX6" fmla="*/ 380 w 1166217"/>
              <a:gd name="connsiteY6" fmla="*/ 2215 h 1375531"/>
              <a:gd name="connsiteX0" fmla="*/ 6420 w 1172257"/>
              <a:gd name="connsiteY0" fmla="*/ 2215 h 1399780"/>
              <a:gd name="connsiteX1" fmla="*/ 1172257 w 1172257"/>
              <a:gd name="connsiteY1" fmla="*/ 0 h 1399780"/>
              <a:gd name="connsiteX2" fmla="*/ 1169885 w 1172257"/>
              <a:gd name="connsiteY2" fmla="*/ 894920 h 1399780"/>
              <a:gd name="connsiteX3" fmla="*/ 1074799 w 1172257"/>
              <a:gd name="connsiteY3" fmla="*/ 1041119 h 1399780"/>
              <a:gd name="connsiteX4" fmla="*/ 93519 w 1172257"/>
              <a:gd name="connsiteY4" fmla="*/ 1360100 h 1399780"/>
              <a:gd name="connsiteX5" fmla="*/ 6040 w 1172257"/>
              <a:gd name="connsiteY5" fmla="*/ 1260419 h 1399780"/>
              <a:gd name="connsiteX6" fmla="*/ 6420 w 1172257"/>
              <a:gd name="connsiteY6" fmla="*/ 2215 h 1399780"/>
              <a:gd name="connsiteX0" fmla="*/ 6420 w 1172257"/>
              <a:gd name="connsiteY0" fmla="*/ 2215 h 1400114"/>
              <a:gd name="connsiteX1" fmla="*/ 1172257 w 1172257"/>
              <a:gd name="connsiteY1" fmla="*/ 0 h 1400114"/>
              <a:gd name="connsiteX2" fmla="*/ 1169885 w 1172257"/>
              <a:gd name="connsiteY2" fmla="*/ 894920 h 1400114"/>
              <a:gd name="connsiteX3" fmla="*/ 1074799 w 1172257"/>
              <a:gd name="connsiteY3" fmla="*/ 1041119 h 1400114"/>
              <a:gd name="connsiteX4" fmla="*/ 93519 w 1172257"/>
              <a:gd name="connsiteY4" fmla="*/ 1360100 h 1400114"/>
              <a:gd name="connsiteX5" fmla="*/ 6040 w 1172257"/>
              <a:gd name="connsiteY5" fmla="*/ 1260419 h 1400114"/>
              <a:gd name="connsiteX6" fmla="*/ 6420 w 1172257"/>
              <a:gd name="connsiteY6" fmla="*/ 2215 h 1400114"/>
              <a:gd name="connsiteX0" fmla="*/ 666 w 1166503"/>
              <a:gd name="connsiteY0" fmla="*/ 2215 h 1363444"/>
              <a:gd name="connsiteX1" fmla="*/ 1166503 w 1166503"/>
              <a:gd name="connsiteY1" fmla="*/ 0 h 1363444"/>
              <a:gd name="connsiteX2" fmla="*/ 1164131 w 1166503"/>
              <a:gd name="connsiteY2" fmla="*/ 894920 h 1363444"/>
              <a:gd name="connsiteX3" fmla="*/ 1069045 w 1166503"/>
              <a:gd name="connsiteY3" fmla="*/ 1041119 h 1363444"/>
              <a:gd name="connsiteX4" fmla="*/ 87765 w 1166503"/>
              <a:gd name="connsiteY4" fmla="*/ 1360100 h 1363444"/>
              <a:gd name="connsiteX5" fmla="*/ 286 w 1166503"/>
              <a:gd name="connsiteY5" fmla="*/ 1260419 h 1363444"/>
              <a:gd name="connsiteX6" fmla="*/ 666 w 1166503"/>
              <a:gd name="connsiteY6" fmla="*/ 2215 h 1363444"/>
              <a:gd name="connsiteX0" fmla="*/ 666 w 1168481"/>
              <a:gd name="connsiteY0" fmla="*/ 6645 h 1367874"/>
              <a:gd name="connsiteX1" fmla="*/ 1156995 w 1168481"/>
              <a:gd name="connsiteY1" fmla="*/ 0 h 1367874"/>
              <a:gd name="connsiteX2" fmla="*/ 1164131 w 1168481"/>
              <a:gd name="connsiteY2" fmla="*/ 899350 h 1367874"/>
              <a:gd name="connsiteX3" fmla="*/ 1069045 w 1168481"/>
              <a:gd name="connsiteY3" fmla="*/ 1045549 h 1367874"/>
              <a:gd name="connsiteX4" fmla="*/ 87765 w 1168481"/>
              <a:gd name="connsiteY4" fmla="*/ 1364530 h 1367874"/>
              <a:gd name="connsiteX5" fmla="*/ 286 w 1168481"/>
              <a:gd name="connsiteY5" fmla="*/ 1264849 h 1367874"/>
              <a:gd name="connsiteX6" fmla="*/ 666 w 1168481"/>
              <a:gd name="connsiteY6" fmla="*/ 6645 h 1367874"/>
              <a:gd name="connsiteX0" fmla="*/ 666 w 1169473"/>
              <a:gd name="connsiteY0" fmla="*/ 6645 h 1367874"/>
              <a:gd name="connsiteX1" fmla="*/ 1156995 w 1169473"/>
              <a:gd name="connsiteY1" fmla="*/ 0 h 1367874"/>
              <a:gd name="connsiteX2" fmla="*/ 1164131 w 1169473"/>
              <a:gd name="connsiteY2" fmla="*/ 899350 h 1367874"/>
              <a:gd name="connsiteX3" fmla="*/ 1069045 w 1169473"/>
              <a:gd name="connsiteY3" fmla="*/ 1045549 h 1367874"/>
              <a:gd name="connsiteX4" fmla="*/ 87765 w 1169473"/>
              <a:gd name="connsiteY4" fmla="*/ 1364530 h 1367874"/>
              <a:gd name="connsiteX5" fmla="*/ 286 w 1169473"/>
              <a:gd name="connsiteY5" fmla="*/ 1264849 h 1367874"/>
              <a:gd name="connsiteX6" fmla="*/ 666 w 1169473"/>
              <a:gd name="connsiteY6" fmla="*/ 6645 h 1367874"/>
              <a:gd name="connsiteX0" fmla="*/ 666 w 1162319"/>
              <a:gd name="connsiteY0" fmla="*/ 6645 h 1367874"/>
              <a:gd name="connsiteX1" fmla="*/ 1156995 w 1162319"/>
              <a:gd name="connsiteY1" fmla="*/ 0 h 1367874"/>
              <a:gd name="connsiteX2" fmla="*/ 1154622 w 1162319"/>
              <a:gd name="connsiteY2" fmla="*/ 886059 h 1367874"/>
              <a:gd name="connsiteX3" fmla="*/ 1069045 w 1162319"/>
              <a:gd name="connsiteY3" fmla="*/ 1045549 h 1367874"/>
              <a:gd name="connsiteX4" fmla="*/ 87765 w 1162319"/>
              <a:gd name="connsiteY4" fmla="*/ 1364530 h 1367874"/>
              <a:gd name="connsiteX5" fmla="*/ 286 w 1162319"/>
              <a:gd name="connsiteY5" fmla="*/ 1264849 h 1367874"/>
              <a:gd name="connsiteX6" fmla="*/ 666 w 1162319"/>
              <a:gd name="connsiteY6" fmla="*/ 6645 h 1367874"/>
              <a:gd name="connsiteX0" fmla="*/ 666 w 1157419"/>
              <a:gd name="connsiteY0" fmla="*/ 6645 h 1367874"/>
              <a:gd name="connsiteX1" fmla="*/ 1156995 w 1157419"/>
              <a:gd name="connsiteY1" fmla="*/ 0 h 1367874"/>
              <a:gd name="connsiteX2" fmla="*/ 1154622 w 1157419"/>
              <a:gd name="connsiteY2" fmla="*/ 886059 h 1367874"/>
              <a:gd name="connsiteX3" fmla="*/ 1069045 w 1157419"/>
              <a:gd name="connsiteY3" fmla="*/ 1045549 h 1367874"/>
              <a:gd name="connsiteX4" fmla="*/ 87765 w 1157419"/>
              <a:gd name="connsiteY4" fmla="*/ 1364530 h 1367874"/>
              <a:gd name="connsiteX5" fmla="*/ 286 w 1157419"/>
              <a:gd name="connsiteY5" fmla="*/ 1264849 h 1367874"/>
              <a:gd name="connsiteX6" fmla="*/ 666 w 1157419"/>
              <a:gd name="connsiteY6" fmla="*/ 6645 h 1367874"/>
              <a:gd name="connsiteX0" fmla="*/ 666 w 1157396"/>
              <a:gd name="connsiteY0" fmla="*/ 6645 h 1367874"/>
              <a:gd name="connsiteX1" fmla="*/ 1156995 w 1157396"/>
              <a:gd name="connsiteY1" fmla="*/ 0 h 1367874"/>
              <a:gd name="connsiteX2" fmla="*/ 1154622 w 1157396"/>
              <a:gd name="connsiteY2" fmla="*/ 886059 h 1367874"/>
              <a:gd name="connsiteX3" fmla="*/ 1069045 w 1157396"/>
              <a:gd name="connsiteY3" fmla="*/ 1045549 h 1367874"/>
              <a:gd name="connsiteX4" fmla="*/ 87765 w 1157396"/>
              <a:gd name="connsiteY4" fmla="*/ 1364530 h 1367874"/>
              <a:gd name="connsiteX5" fmla="*/ 286 w 1157396"/>
              <a:gd name="connsiteY5" fmla="*/ 1264849 h 1367874"/>
              <a:gd name="connsiteX6" fmla="*/ 666 w 1157396"/>
              <a:gd name="connsiteY6" fmla="*/ 6645 h 1367874"/>
              <a:gd name="connsiteX0" fmla="*/ 666 w 1460157"/>
              <a:gd name="connsiteY0" fmla="*/ 6645 h 1367874"/>
              <a:gd name="connsiteX1" fmla="*/ 1460149 w 1460157"/>
              <a:gd name="connsiteY1" fmla="*/ 0 h 1367874"/>
              <a:gd name="connsiteX2" fmla="*/ 1154622 w 1460157"/>
              <a:gd name="connsiteY2" fmla="*/ 886059 h 1367874"/>
              <a:gd name="connsiteX3" fmla="*/ 1069045 w 1460157"/>
              <a:gd name="connsiteY3" fmla="*/ 1045549 h 1367874"/>
              <a:gd name="connsiteX4" fmla="*/ 87765 w 1460157"/>
              <a:gd name="connsiteY4" fmla="*/ 1364530 h 1367874"/>
              <a:gd name="connsiteX5" fmla="*/ 286 w 1460157"/>
              <a:gd name="connsiteY5" fmla="*/ 1264849 h 1367874"/>
              <a:gd name="connsiteX6" fmla="*/ 666 w 1460157"/>
              <a:gd name="connsiteY6" fmla="*/ 6645 h 1367874"/>
              <a:gd name="connsiteX0" fmla="*/ 666 w 1460550"/>
              <a:gd name="connsiteY0" fmla="*/ 6645 h 1367874"/>
              <a:gd name="connsiteX1" fmla="*/ 1460149 w 1460550"/>
              <a:gd name="connsiteY1" fmla="*/ 0 h 1367874"/>
              <a:gd name="connsiteX2" fmla="*/ 1457775 w 1460550"/>
              <a:gd name="connsiteY2" fmla="*/ 807964 h 1367874"/>
              <a:gd name="connsiteX3" fmla="*/ 1069045 w 1460550"/>
              <a:gd name="connsiteY3" fmla="*/ 1045549 h 1367874"/>
              <a:gd name="connsiteX4" fmla="*/ 87765 w 1460550"/>
              <a:gd name="connsiteY4" fmla="*/ 1364530 h 1367874"/>
              <a:gd name="connsiteX5" fmla="*/ 286 w 1460550"/>
              <a:gd name="connsiteY5" fmla="*/ 1264849 h 1367874"/>
              <a:gd name="connsiteX6" fmla="*/ 666 w 1460550"/>
              <a:gd name="connsiteY6" fmla="*/ 6645 h 1367874"/>
              <a:gd name="connsiteX0" fmla="*/ 666 w 1498678"/>
              <a:gd name="connsiteY0" fmla="*/ 6645 h 1367874"/>
              <a:gd name="connsiteX1" fmla="*/ 1460149 w 1498678"/>
              <a:gd name="connsiteY1" fmla="*/ 0 h 1367874"/>
              <a:gd name="connsiteX2" fmla="*/ 1457775 w 1498678"/>
              <a:gd name="connsiteY2" fmla="*/ 807964 h 1367874"/>
              <a:gd name="connsiteX3" fmla="*/ 1366368 w 1498678"/>
              <a:gd name="connsiteY3" fmla="*/ 960663 h 1367874"/>
              <a:gd name="connsiteX4" fmla="*/ 87765 w 1498678"/>
              <a:gd name="connsiteY4" fmla="*/ 1364530 h 1367874"/>
              <a:gd name="connsiteX5" fmla="*/ 286 w 1498678"/>
              <a:gd name="connsiteY5" fmla="*/ 1264849 h 1367874"/>
              <a:gd name="connsiteX6" fmla="*/ 666 w 1498678"/>
              <a:gd name="connsiteY6" fmla="*/ 6645 h 1367874"/>
              <a:gd name="connsiteX0" fmla="*/ 666 w 1460550"/>
              <a:gd name="connsiteY0" fmla="*/ 6645 h 1367874"/>
              <a:gd name="connsiteX1" fmla="*/ 1460149 w 1460550"/>
              <a:gd name="connsiteY1" fmla="*/ 0 h 1367874"/>
              <a:gd name="connsiteX2" fmla="*/ 1457775 w 1460550"/>
              <a:gd name="connsiteY2" fmla="*/ 807964 h 1367874"/>
              <a:gd name="connsiteX3" fmla="*/ 1366368 w 1460550"/>
              <a:gd name="connsiteY3" fmla="*/ 960663 h 1367874"/>
              <a:gd name="connsiteX4" fmla="*/ 87765 w 1460550"/>
              <a:gd name="connsiteY4" fmla="*/ 1364530 h 1367874"/>
              <a:gd name="connsiteX5" fmla="*/ 286 w 1460550"/>
              <a:gd name="connsiteY5" fmla="*/ 1264849 h 1367874"/>
              <a:gd name="connsiteX6" fmla="*/ 666 w 1460550"/>
              <a:gd name="connsiteY6" fmla="*/ 6645 h 1367874"/>
              <a:gd name="connsiteX0" fmla="*/ 666 w 1458788"/>
              <a:gd name="connsiteY0" fmla="*/ 0 h 1361229"/>
              <a:gd name="connsiteX1" fmla="*/ 1458206 w 1458788"/>
              <a:gd name="connsiteY1" fmla="*/ 145 h 1361229"/>
              <a:gd name="connsiteX2" fmla="*/ 1457775 w 1458788"/>
              <a:gd name="connsiteY2" fmla="*/ 801319 h 1361229"/>
              <a:gd name="connsiteX3" fmla="*/ 1366368 w 1458788"/>
              <a:gd name="connsiteY3" fmla="*/ 954018 h 1361229"/>
              <a:gd name="connsiteX4" fmla="*/ 87765 w 1458788"/>
              <a:gd name="connsiteY4" fmla="*/ 1357885 h 1361229"/>
              <a:gd name="connsiteX5" fmla="*/ 286 w 1458788"/>
              <a:gd name="connsiteY5" fmla="*/ 1258204 h 1361229"/>
              <a:gd name="connsiteX6" fmla="*/ 666 w 1458788"/>
              <a:gd name="connsiteY6" fmla="*/ 0 h 1361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58788" h="1361229">
                <a:moveTo>
                  <a:pt x="666" y="0"/>
                </a:moveTo>
                <a:lnTo>
                  <a:pt x="1458206" y="145"/>
                </a:lnTo>
                <a:cubicBezTo>
                  <a:pt x="1460045" y="268546"/>
                  <a:pt x="1456860" y="622632"/>
                  <a:pt x="1457775" y="801319"/>
                </a:cubicBezTo>
                <a:cubicBezTo>
                  <a:pt x="1458319" y="907522"/>
                  <a:pt x="1443126" y="925770"/>
                  <a:pt x="1366368" y="954018"/>
                </a:cubicBezTo>
                <a:cubicBezTo>
                  <a:pt x="1135075" y="1039137"/>
                  <a:pt x="403734" y="1269154"/>
                  <a:pt x="87765" y="1357885"/>
                </a:cubicBezTo>
                <a:cubicBezTo>
                  <a:pt x="41105" y="1370988"/>
                  <a:pt x="1490" y="1347179"/>
                  <a:pt x="286" y="1258204"/>
                </a:cubicBezTo>
                <a:cubicBezTo>
                  <a:pt x="-918" y="1169229"/>
                  <a:pt x="2173" y="272094"/>
                  <a:pt x="66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lIns="251953" tIns="0" rIns="215960" bIns="233957">
            <a:noAutofit/>
          </a:bodyPr>
          <a:lstStyle>
            <a:lvl1pPr marL="0" indent="0">
              <a:spcBef>
                <a:spcPts val="1800"/>
              </a:spcBef>
              <a:spcAft>
                <a:spcPts val="2100"/>
              </a:spcAft>
              <a:buFontTx/>
              <a:buNone/>
              <a:defRPr b="0" i="0">
                <a:solidFill>
                  <a:schemeClr val="tx1"/>
                </a:solidFill>
                <a:latin typeface="Univers 45 Light"/>
                <a:cs typeface="Univers 45 Light"/>
              </a:defRPr>
            </a:lvl1pPr>
            <a:lvl2pPr marL="0" indent="0">
              <a:spcBef>
                <a:spcPts val="1499"/>
              </a:spcBef>
              <a:buFontTx/>
              <a:buNone/>
              <a:defRPr sz="1800" b="0" i="0">
                <a:solidFill>
                  <a:schemeClr val="tx1"/>
                </a:solidFill>
                <a:latin typeface="Univers 45 Light"/>
                <a:cs typeface="Univers 45 Light"/>
              </a:defRPr>
            </a:lvl2pPr>
            <a:lvl3pPr marL="914231" indent="0">
              <a:buFontTx/>
              <a:buNone/>
              <a:defRPr/>
            </a:lvl3pPr>
            <a:lvl4pPr marL="1263417" indent="0">
              <a:buFontTx/>
              <a:buNone/>
              <a:defRPr/>
            </a:lvl4pPr>
            <a:lvl5pPr marL="1599906" indent="0">
              <a:buFontTx/>
              <a:buNone/>
              <a:defRPr/>
            </a:lvl5pPr>
          </a:lstStyle>
          <a:p>
            <a:pPr lvl="0"/>
            <a:r>
              <a:rPr lang="es-ES_tradnl" dirty="0"/>
              <a:t>Escriba el texto</a:t>
            </a:r>
          </a:p>
          <a:p>
            <a:pPr lvl="1"/>
            <a:r>
              <a:rPr lang="es-ES_tradnl" dirty="0"/>
              <a:t>Segundo nivel</a:t>
            </a:r>
          </a:p>
        </p:txBody>
      </p:sp>
      <p:sp>
        <p:nvSpPr>
          <p:cNvPr id="13" name="Marcador de texto 4"/>
          <p:cNvSpPr>
            <a:spLocks noGrp="1"/>
          </p:cNvSpPr>
          <p:nvPr>
            <p:ph type="body" sz="quarter" idx="17" hasCustomPrompt="1"/>
          </p:nvPr>
        </p:nvSpPr>
        <p:spPr>
          <a:xfrm>
            <a:off x="1636713" y="425606"/>
            <a:ext cx="3033248" cy="1857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00" b="0" i="0" kern="300" spc="50" baseline="0">
                <a:solidFill>
                  <a:schemeClr val="tx2"/>
                </a:solidFill>
                <a:latin typeface="Univers 75 Black"/>
                <a:cs typeface="Univers 75 Black"/>
              </a:defRPr>
            </a:lvl1pPr>
            <a:lvl2pPr marL="0" indent="0">
              <a:spcBef>
                <a:spcPts val="400"/>
              </a:spcBef>
              <a:buFontTx/>
              <a:buNone/>
              <a:defRPr sz="900" kern="500" spc="50">
                <a:solidFill>
                  <a:schemeClr val="tx2"/>
                </a:solidFill>
              </a:defRPr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s-ES_tradnl" dirty="0"/>
              <a:t>NIVEL 1</a:t>
            </a:r>
            <a:endParaRPr lang="es-ES" dirty="0"/>
          </a:p>
        </p:txBody>
      </p:sp>
      <p:sp>
        <p:nvSpPr>
          <p:cNvPr id="16" name="Marcador de texto 4"/>
          <p:cNvSpPr>
            <a:spLocks noGrp="1"/>
          </p:cNvSpPr>
          <p:nvPr>
            <p:ph type="body" sz="quarter" idx="19" hasCustomPrompt="1"/>
          </p:nvPr>
        </p:nvSpPr>
        <p:spPr>
          <a:xfrm>
            <a:off x="1290469" y="195977"/>
            <a:ext cx="346244" cy="4130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FontTx/>
              <a:buNone/>
              <a:defRPr sz="2800" b="0" i="0" kern="300" spc="50" baseline="0">
                <a:solidFill>
                  <a:schemeClr val="tx2"/>
                </a:solidFill>
                <a:latin typeface="Univers 57 Condensed"/>
                <a:cs typeface="Univers 57 Condensed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900" kern="500" spc="50">
                <a:solidFill>
                  <a:schemeClr val="tx2"/>
                </a:solidFill>
              </a:defRPr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s-ES_tradnl" dirty="0"/>
              <a:t>N</a:t>
            </a:r>
            <a:endParaRPr lang="es-ES" dirty="0"/>
          </a:p>
        </p:txBody>
      </p:sp>
      <p:sp>
        <p:nvSpPr>
          <p:cNvPr id="17" name="Marcador de texto 10"/>
          <p:cNvSpPr>
            <a:spLocks noGrp="1"/>
          </p:cNvSpPr>
          <p:nvPr>
            <p:ph type="body" sz="quarter" idx="22" hasCustomPrompt="1"/>
          </p:nvPr>
        </p:nvSpPr>
        <p:spPr>
          <a:xfrm>
            <a:off x="1636713" y="603741"/>
            <a:ext cx="3033248" cy="1770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_tradnl" dirty="0"/>
              <a:t>NIVEL 2</a:t>
            </a:r>
            <a:endParaRPr lang="es-ES" dirty="0"/>
          </a:p>
        </p:txBody>
      </p:sp>
      <p:sp>
        <p:nvSpPr>
          <p:cNvPr id="18" name="Marcador de texto 10"/>
          <p:cNvSpPr>
            <a:spLocks noGrp="1"/>
          </p:cNvSpPr>
          <p:nvPr>
            <p:ph type="body" sz="quarter" idx="23" hasCustomPrompt="1"/>
          </p:nvPr>
        </p:nvSpPr>
        <p:spPr>
          <a:xfrm>
            <a:off x="1290469" y="603741"/>
            <a:ext cx="346244" cy="1770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s-ES_tradnl" dirty="0"/>
              <a:t>N</a:t>
            </a:r>
            <a:endParaRPr lang="es-ES" dirty="0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36297" y="188640"/>
            <a:ext cx="1691233" cy="572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858595153"/>
      </p:ext>
    </p:extLst>
  </p:cSld>
  <p:clrMapOvr>
    <a:masterClrMapping/>
  </p:clrMapOvr>
  <p:transition spd="slow">
    <p:circl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posición de imagen 2"/>
          <p:cNvSpPr>
            <a:spLocks noGrp="1"/>
          </p:cNvSpPr>
          <p:nvPr>
            <p:ph type="pic" sz="quarter" idx="12"/>
          </p:nvPr>
        </p:nvSpPr>
        <p:spPr>
          <a:xfrm>
            <a:off x="-32414" y="2270409"/>
            <a:ext cx="9220208" cy="4622480"/>
          </a:xfrm>
          <a:custGeom>
            <a:avLst/>
            <a:gdLst>
              <a:gd name="connsiteX0" fmla="*/ 0 w 1295400"/>
              <a:gd name="connsiteY0" fmla="*/ 0 h 1295400"/>
              <a:gd name="connsiteX1" fmla="*/ 1295400 w 1295400"/>
              <a:gd name="connsiteY1" fmla="*/ 0 h 1295400"/>
              <a:gd name="connsiteX2" fmla="*/ 1295400 w 1295400"/>
              <a:gd name="connsiteY2" fmla="*/ 1295400 h 1295400"/>
              <a:gd name="connsiteX3" fmla="*/ 0 w 1295400"/>
              <a:gd name="connsiteY3" fmla="*/ 1295400 h 1295400"/>
              <a:gd name="connsiteX4" fmla="*/ 0 w 1295400"/>
              <a:gd name="connsiteY4" fmla="*/ 0 h 1295400"/>
              <a:gd name="connsiteX0" fmla="*/ 0 w 1295400"/>
              <a:gd name="connsiteY0" fmla="*/ 381000 h 1295400"/>
              <a:gd name="connsiteX1" fmla="*/ 1295400 w 1295400"/>
              <a:gd name="connsiteY1" fmla="*/ 0 h 1295400"/>
              <a:gd name="connsiteX2" fmla="*/ 1295400 w 1295400"/>
              <a:gd name="connsiteY2" fmla="*/ 1295400 h 1295400"/>
              <a:gd name="connsiteX3" fmla="*/ 0 w 1295400"/>
              <a:gd name="connsiteY3" fmla="*/ 1295400 h 1295400"/>
              <a:gd name="connsiteX4" fmla="*/ 0 w 1295400"/>
              <a:gd name="connsiteY4" fmla="*/ 381000 h 1295400"/>
              <a:gd name="connsiteX0" fmla="*/ 2646 w 1295400"/>
              <a:gd name="connsiteY0" fmla="*/ 575389 h 1295400"/>
              <a:gd name="connsiteX1" fmla="*/ 1295400 w 1295400"/>
              <a:gd name="connsiteY1" fmla="*/ 0 h 1295400"/>
              <a:gd name="connsiteX2" fmla="*/ 1295400 w 1295400"/>
              <a:gd name="connsiteY2" fmla="*/ 1295400 h 1295400"/>
              <a:gd name="connsiteX3" fmla="*/ 0 w 1295400"/>
              <a:gd name="connsiteY3" fmla="*/ 1295400 h 1295400"/>
              <a:gd name="connsiteX4" fmla="*/ 2646 w 1295400"/>
              <a:gd name="connsiteY4" fmla="*/ 575389 h 1295400"/>
              <a:gd name="connsiteX0" fmla="*/ 0 w 1299992"/>
              <a:gd name="connsiteY0" fmla="*/ 573663 h 1295400"/>
              <a:gd name="connsiteX1" fmla="*/ 1299992 w 1299992"/>
              <a:gd name="connsiteY1" fmla="*/ 0 h 1295400"/>
              <a:gd name="connsiteX2" fmla="*/ 1299992 w 1299992"/>
              <a:gd name="connsiteY2" fmla="*/ 1295400 h 1295400"/>
              <a:gd name="connsiteX3" fmla="*/ 4592 w 1299992"/>
              <a:gd name="connsiteY3" fmla="*/ 1295400 h 1295400"/>
              <a:gd name="connsiteX4" fmla="*/ 0 w 1299992"/>
              <a:gd name="connsiteY4" fmla="*/ 573663 h 1295400"/>
              <a:gd name="connsiteX0" fmla="*/ 45 w 1300037"/>
              <a:gd name="connsiteY0" fmla="*/ 573663 h 1295400"/>
              <a:gd name="connsiteX1" fmla="*/ 1300037 w 1300037"/>
              <a:gd name="connsiteY1" fmla="*/ 0 h 1295400"/>
              <a:gd name="connsiteX2" fmla="*/ 1300037 w 1300037"/>
              <a:gd name="connsiteY2" fmla="*/ 1295400 h 1295400"/>
              <a:gd name="connsiteX3" fmla="*/ 501 w 1300037"/>
              <a:gd name="connsiteY3" fmla="*/ 1291947 h 1295400"/>
              <a:gd name="connsiteX4" fmla="*/ 45 w 1300037"/>
              <a:gd name="connsiteY4" fmla="*/ 573663 h 1295400"/>
              <a:gd name="connsiteX0" fmla="*/ 45 w 1309343"/>
              <a:gd name="connsiteY0" fmla="*/ 573663 h 1291947"/>
              <a:gd name="connsiteX1" fmla="*/ 1300037 w 1309343"/>
              <a:gd name="connsiteY1" fmla="*/ 0 h 1291947"/>
              <a:gd name="connsiteX2" fmla="*/ 1309343 w 1309343"/>
              <a:gd name="connsiteY2" fmla="*/ 1291947 h 1291947"/>
              <a:gd name="connsiteX3" fmla="*/ 501 w 1309343"/>
              <a:gd name="connsiteY3" fmla="*/ 1291947 h 1291947"/>
              <a:gd name="connsiteX4" fmla="*/ 45 w 1309343"/>
              <a:gd name="connsiteY4" fmla="*/ 573663 h 1291947"/>
              <a:gd name="connsiteX0" fmla="*/ 45 w 1309343"/>
              <a:gd name="connsiteY0" fmla="*/ 580569 h 1298853"/>
              <a:gd name="connsiteX1" fmla="*/ 1306241 w 1309343"/>
              <a:gd name="connsiteY1" fmla="*/ 0 h 1298853"/>
              <a:gd name="connsiteX2" fmla="*/ 1309343 w 1309343"/>
              <a:gd name="connsiteY2" fmla="*/ 1298853 h 1298853"/>
              <a:gd name="connsiteX3" fmla="*/ 501 w 1309343"/>
              <a:gd name="connsiteY3" fmla="*/ 1298853 h 1298853"/>
              <a:gd name="connsiteX4" fmla="*/ 45 w 1309343"/>
              <a:gd name="connsiteY4" fmla="*/ 580569 h 1298853"/>
              <a:gd name="connsiteX0" fmla="*/ 0 w 1309298"/>
              <a:gd name="connsiteY0" fmla="*/ 580569 h 1298853"/>
              <a:gd name="connsiteX1" fmla="*/ 1306196 w 1309298"/>
              <a:gd name="connsiteY1" fmla="*/ 0 h 1298853"/>
              <a:gd name="connsiteX2" fmla="*/ 1309298 w 1309298"/>
              <a:gd name="connsiteY2" fmla="*/ 1298853 h 1298853"/>
              <a:gd name="connsiteX3" fmla="*/ 1617 w 1309298"/>
              <a:gd name="connsiteY3" fmla="*/ 1186442 h 1298853"/>
              <a:gd name="connsiteX4" fmla="*/ 0 w 1309298"/>
              <a:gd name="connsiteY4" fmla="*/ 580569 h 1298853"/>
              <a:gd name="connsiteX0" fmla="*/ 0 w 1306196"/>
              <a:gd name="connsiteY0" fmla="*/ 580569 h 1186442"/>
              <a:gd name="connsiteX1" fmla="*/ 1306196 w 1306196"/>
              <a:gd name="connsiteY1" fmla="*/ 0 h 1186442"/>
              <a:gd name="connsiteX2" fmla="*/ 1304655 w 1306196"/>
              <a:gd name="connsiteY2" fmla="*/ 1186442 h 1186442"/>
              <a:gd name="connsiteX3" fmla="*/ 1617 w 1306196"/>
              <a:gd name="connsiteY3" fmla="*/ 1186442 h 1186442"/>
              <a:gd name="connsiteX4" fmla="*/ 0 w 1306196"/>
              <a:gd name="connsiteY4" fmla="*/ 580569 h 1186442"/>
              <a:gd name="connsiteX0" fmla="*/ 0 w 1306196"/>
              <a:gd name="connsiteY0" fmla="*/ 580569 h 1186442"/>
              <a:gd name="connsiteX1" fmla="*/ 1306196 w 1306196"/>
              <a:gd name="connsiteY1" fmla="*/ 0 h 1186442"/>
              <a:gd name="connsiteX2" fmla="*/ 1303494 w 1306196"/>
              <a:gd name="connsiteY2" fmla="*/ 1087598 h 1186442"/>
              <a:gd name="connsiteX3" fmla="*/ 1617 w 1306196"/>
              <a:gd name="connsiteY3" fmla="*/ 1186442 h 1186442"/>
              <a:gd name="connsiteX4" fmla="*/ 0 w 1306196"/>
              <a:gd name="connsiteY4" fmla="*/ 580569 h 1186442"/>
              <a:gd name="connsiteX0" fmla="*/ 0 w 1306196"/>
              <a:gd name="connsiteY0" fmla="*/ 580569 h 1093412"/>
              <a:gd name="connsiteX1" fmla="*/ 1306196 w 1306196"/>
              <a:gd name="connsiteY1" fmla="*/ 0 h 1093412"/>
              <a:gd name="connsiteX2" fmla="*/ 1303494 w 1306196"/>
              <a:gd name="connsiteY2" fmla="*/ 1087598 h 1093412"/>
              <a:gd name="connsiteX3" fmla="*/ 1617 w 1306196"/>
              <a:gd name="connsiteY3" fmla="*/ 1093412 h 1093412"/>
              <a:gd name="connsiteX4" fmla="*/ 0 w 1306196"/>
              <a:gd name="connsiteY4" fmla="*/ 580569 h 1093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6196" h="1093412">
                <a:moveTo>
                  <a:pt x="0" y="580569"/>
                </a:moveTo>
                <a:lnTo>
                  <a:pt x="1306196" y="0"/>
                </a:lnTo>
                <a:cubicBezTo>
                  <a:pt x="1305682" y="395481"/>
                  <a:pt x="1304008" y="692117"/>
                  <a:pt x="1303494" y="1087598"/>
                </a:cubicBezTo>
                <a:lnTo>
                  <a:pt x="1617" y="1093412"/>
                </a:lnTo>
                <a:cubicBezTo>
                  <a:pt x="86" y="852833"/>
                  <a:pt x="1531" y="821148"/>
                  <a:pt x="0" y="580569"/>
                </a:cubicBezTo>
                <a:close/>
              </a:path>
            </a:pathLst>
          </a:custGeom>
          <a:ln>
            <a:noFill/>
          </a:ln>
        </p:spPr>
        <p:txBody>
          <a:bodyPr vert="horz" lIns="91423" tIns="45711" rIns="91423" bIns="45711" anchor="b" anchorCtr="0">
            <a:normAutofit/>
          </a:bodyPr>
          <a:lstStyle>
            <a:lvl1pPr marL="0" indent="0">
              <a:buFontTx/>
              <a:buNone/>
              <a:defRPr sz="800"/>
            </a:lvl1pPr>
          </a:lstStyle>
          <a:p>
            <a:endParaRPr lang="es-ES" dirty="0"/>
          </a:p>
        </p:txBody>
      </p:sp>
      <p:sp>
        <p:nvSpPr>
          <p:cNvPr id="6" name="Marcador de texto 2"/>
          <p:cNvSpPr>
            <a:spLocks noGrp="1"/>
          </p:cNvSpPr>
          <p:nvPr>
            <p:ph type="body" sz="quarter" idx="15" hasCustomPrompt="1"/>
          </p:nvPr>
        </p:nvSpPr>
        <p:spPr>
          <a:xfrm>
            <a:off x="1636713" y="1296988"/>
            <a:ext cx="6515868" cy="183294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4800" spc="0">
                <a:solidFill>
                  <a:srgbClr val="033E7E"/>
                </a:solidFill>
              </a:defRPr>
            </a:lvl1pPr>
          </a:lstStyle>
          <a:p>
            <a:pPr lvl="0"/>
            <a:r>
              <a:rPr lang="es-ES_tradnl" dirty="0"/>
              <a:t>Título</a:t>
            </a:r>
            <a:endParaRPr lang="es-ES" dirty="0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36297" y="188640"/>
            <a:ext cx="1691233" cy="572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725787464"/>
      </p:ext>
    </p:extLst>
  </p:cSld>
  <p:clrMapOvr>
    <a:masterClrMapping/>
  </p:clrMapOvr>
  <p:transition spd="slow">
    <p:circl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10.png"/><Relationship Id="rId4" Type="http://schemas.openxmlformats.org/officeDocument/2006/relationships/theme" Target="../theme/theme2.xml"/><Relationship Id="rId9" Type="http://schemas.openxmlformats.org/officeDocument/2006/relationships/image" Target="../media/image9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15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4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0.png"/><Relationship Id="rId4" Type="http://schemas.openxmlformats.org/officeDocument/2006/relationships/theme" Target="../theme/theme3.xml"/><Relationship Id="rId9" Type="http://schemas.openxmlformats.org/officeDocument/2006/relationships/image" Target="../media/image9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23" tIns="45711" rIns="91423" bIns="45711" rtlCol="0" anchor="ctr"/>
          <a:lstStyle>
            <a:lvl1pPr algn="r">
              <a:defRPr sz="1400" b="0" i="0">
                <a:solidFill>
                  <a:schemeClr val="tx1">
                    <a:lumMod val="65000"/>
                    <a:lumOff val="35000"/>
                  </a:schemeClr>
                </a:solidFill>
                <a:latin typeface="Univers 55"/>
                <a:cs typeface="Univers 55"/>
              </a:defRPr>
            </a:lvl1pPr>
          </a:lstStyle>
          <a:p>
            <a:fld id="{2A8AA636-7E94-0E49-80A0-04A820D01941}" type="slidenum">
              <a:rPr lang="es-ES" smtClean="0"/>
              <a:pPr/>
              <a:t>‹Nº›</a:t>
            </a:fld>
            <a:endParaRPr lang="es-E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0" r:id="rId3"/>
    <p:sldLayoutId id="2147483818" r:id="rId4"/>
    <p:sldLayoutId id="2147483814" r:id="rId5"/>
    <p:sldLayoutId id="2147483816" r:id="rId6"/>
    <p:sldLayoutId id="2147483826" r:id="rId7"/>
    <p:sldLayoutId id="2147483817" r:id="rId8"/>
    <p:sldLayoutId id="2147483827" r:id="rId9"/>
  </p:sldLayoutIdLst>
  <p:transition spd="slow">
    <p:circle/>
  </p:transition>
  <p:txStyles>
    <p:titleStyle>
      <a:lvl1pPr algn="l" defTabSz="914231" rtl="0" eaLnBrk="1" latinLnBrk="0" hangingPunct="1">
        <a:spcBef>
          <a:spcPct val="0"/>
        </a:spcBef>
        <a:buNone/>
        <a:defRPr sz="6000" b="0" i="0" kern="1200">
          <a:solidFill>
            <a:srgbClr val="0000FF"/>
          </a:solidFill>
          <a:latin typeface="Univers 55"/>
          <a:ea typeface="+mj-ea"/>
          <a:cs typeface="Univers 55"/>
        </a:defRPr>
      </a:lvl1pPr>
    </p:titleStyle>
    <p:bodyStyle>
      <a:lvl1pPr marL="457116" indent="-457116" algn="l" defTabSz="914231" rtl="0" eaLnBrk="1" latinLnBrk="0" hangingPunct="1">
        <a:spcBef>
          <a:spcPts val="2399"/>
        </a:spcBef>
        <a:buSzPct val="90000"/>
        <a:buFont typeface="Wingdings" pitchFamily="2" charset="2"/>
        <a:buChar char="v"/>
        <a:defRPr sz="2400" b="0" i="0" kern="1200">
          <a:solidFill>
            <a:schemeClr val="tx1">
              <a:lumMod val="75000"/>
              <a:lumOff val="25000"/>
            </a:schemeClr>
          </a:solidFill>
          <a:latin typeface="Univers 55"/>
          <a:ea typeface="+mn-ea"/>
          <a:cs typeface="Univers 55"/>
        </a:defRPr>
      </a:lvl1pPr>
      <a:lvl2pPr marL="914231" indent="-457116" algn="l" defTabSz="914231" rtl="0" eaLnBrk="1" latinLnBrk="0" hangingPunct="1">
        <a:spcBef>
          <a:spcPts val="1200"/>
        </a:spcBef>
        <a:buClr>
          <a:schemeClr val="bg1">
            <a:lumMod val="65000"/>
          </a:schemeClr>
        </a:buClr>
        <a:buSzPct val="90000"/>
        <a:buFont typeface="Wingdings" pitchFamily="2" charset="2"/>
        <a:buChar char="v"/>
        <a:defRPr sz="2200" b="0" i="0" kern="1200">
          <a:solidFill>
            <a:schemeClr val="tx1">
              <a:lumMod val="75000"/>
              <a:lumOff val="25000"/>
            </a:schemeClr>
          </a:solidFill>
          <a:latin typeface="Univers 55"/>
          <a:ea typeface="+mn-ea"/>
          <a:cs typeface="Univers 55"/>
        </a:defRPr>
      </a:lvl2pPr>
      <a:lvl3pPr marL="1263417" indent="-349186" algn="l" defTabSz="914231" rtl="0" eaLnBrk="1" latinLnBrk="0" hangingPunct="1">
        <a:spcBef>
          <a:spcPts val="1200"/>
        </a:spcBef>
        <a:buSzPct val="90000"/>
        <a:buFont typeface="Wingdings" pitchFamily="2" charset="2"/>
        <a:buChar char="v"/>
        <a:defRPr sz="2000" b="0" i="0" kern="1200">
          <a:solidFill>
            <a:schemeClr val="tx1">
              <a:lumMod val="75000"/>
              <a:lumOff val="25000"/>
            </a:schemeClr>
          </a:solidFill>
          <a:latin typeface="Univers 55"/>
          <a:ea typeface="+mn-ea"/>
          <a:cs typeface="Univers 55"/>
        </a:defRPr>
      </a:lvl3pPr>
      <a:lvl4pPr marL="1599906" indent="-336489" algn="l" defTabSz="914231" rtl="0" eaLnBrk="1" latinLnBrk="0" hangingPunct="1">
        <a:spcBef>
          <a:spcPts val="1200"/>
        </a:spcBef>
        <a:buClr>
          <a:schemeClr val="bg1">
            <a:lumMod val="65000"/>
          </a:schemeClr>
        </a:buClr>
        <a:buSzPct val="90000"/>
        <a:buFont typeface="Wingdings" pitchFamily="2" charset="2"/>
        <a:buChar char="v"/>
        <a:defRPr sz="1800" b="0" i="0" kern="1200">
          <a:solidFill>
            <a:schemeClr val="tx1">
              <a:lumMod val="75000"/>
              <a:lumOff val="25000"/>
            </a:schemeClr>
          </a:solidFill>
          <a:latin typeface="Univers 55"/>
          <a:ea typeface="+mn-ea"/>
          <a:cs typeface="Univers 55"/>
        </a:defRPr>
      </a:lvl4pPr>
      <a:lvl5pPr marL="1945917" indent="-346011" algn="l" defTabSz="914231" rtl="0" eaLnBrk="1" latinLnBrk="0" hangingPunct="1">
        <a:spcBef>
          <a:spcPts val="1200"/>
        </a:spcBef>
        <a:buSzPct val="90000"/>
        <a:buFont typeface="Wingdings" pitchFamily="2" charset="2"/>
        <a:buChar char="v"/>
        <a:defRPr sz="1800" b="0" i="0" kern="1200">
          <a:solidFill>
            <a:schemeClr val="tx1">
              <a:lumMod val="75000"/>
              <a:lumOff val="25000"/>
            </a:schemeClr>
          </a:solidFill>
          <a:latin typeface="Univers 55"/>
          <a:ea typeface="+mn-ea"/>
          <a:cs typeface="Univers 55"/>
        </a:defRPr>
      </a:lvl5pPr>
      <a:lvl6pPr marL="2290341" indent="-344424" algn="l" defTabSz="914231" rtl="0" eaLnBrk="1" latinLnBrk="0" hangingPunct="1">
        <a:spcBef>
          <a:spcPct val="20000"/>
        </a:spcBef>
        <a:buClr>
          <a:schemeClr val="bg1">
            <a:lumMod val="65000"/>
          </a:schemeClr>
        </a:buClr>
        <a:buSzPct val="90000"/>
        <a:buFont typeface="Wingdings" pitchFamily="2" charset="2"/>
        <a:buChar char="v"/>
        <a:defRPr lang="en-US" sz="1800" kern="1200" dirty="0" smtClean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625242" indent="-344424" algn="l" defTabSz="914231" rtl="0" eaLnBrk="1" latinLnBrk="0" hangingPunct="1">
        <a:spcBef>
          <a:spcPct val="20000"/>
        </a:spcBef>
        <a:buSzPct val="90000"/>
        <a:buFont typeface="Wingdings" pitchFamily="2" charset="2"/>
        <a:buChar char="v"/>
        <a:defRPr lang="en-US" sz="1800" kern="1200" dirty="0" smtClean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969666" indent="-344424" algn="l" defTabSz="914231" rtl="0" eaLnBrk="1" latinLnBrk="0" hangingPunct="1">
        <a:spcBef>
          <a:spcPct val="20000"/>
        </a:spcBef>
        <a:buClr>
          <a:schemeClr val="bg1">
            <a:lumMod val="65000"/>
          </a:schemeClr>
        </a:buClr>
        <a:buSzPct val="90000"/>
        <a:buFont typeface="Wingdings" pitchFamily="2" charset="2"/>
        <a:buChar char="v"/>
        <a:defRPr lang="en-US" sz="1800" kern="1200" dirty="0" smtClean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312503" indent="-344424" algn="l" defTabSz="914231" rtl="0" eaLnBrk="1" latinLnBrk="0" hangingPunct="1">
        <a:spcBef>
          <a:spcPct val="20000"/>
        </a:spcBef>
        <a:buSzPct val="90000"/>
        <a:buFont typeface="Wingdings" pitchFamily="2" charset="2"/>
        <a:buChar char="v"/>
        <a:defRPr lang="en-US" sz="1800" kern="1200" dirty="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2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6" algn="l" defTabSz="9142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1" algn="l" defTabSz="9142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8" algn="l" defTabSz="9142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63" algn="l" defTabSz="9142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9" algn="l" defTabSz="9142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95" algn="l" defTabSz="9142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11" algn="l" defTabSz="9142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27" algn="l" defTabSz="9142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64675726"/>
              </p:ext>
            </p:extLst>
          </p:nvPr>
        </p:nvGraphicFramePr>
        <p:xfrm>
          <a:off x="1479" y="1514"/>
          <a:ext cx="1476" cy="15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0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9" y="1514"/>
                        <a:ext cx="1476" cy="151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12233" y="71947"/>
            <a:ext cx="7720040" cy="342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3815" rIns="0" bIns="3381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noProof="0" dirty="0"/>
              <a:t>Haga clic para cambiar el estilo de título	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2121" y="651631"/>
            <a:ext cx="8565116" cy="1293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3815" rIns="0" bIns="33815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spcBef>
                <a:spcPts val="0"/>
              </a:spcBef>
              <a:spcAft>
                <a:spcPts val="564"/>
              </a:spcAft>
            </a:pPr>
            <a:r>
              <a:rPr lang="es-ES" noProof="0" dirty="0"/>
              <a:t>Haga clic para modificar el estilo de texto del patrón</a:t>
            </a:r>
          </a:p>
          <a:p>
            <a:pPr marL="335516" lvl="1" indent="-171486">
              <a:spcBef>
                <a:spcPts val="0"/>
              </a:spcBef>
              <a:spcAft>
                <a:spcPts val="564"/>
              </a:spcAft>
              <a:buClrTx/>
            </a:pPr>
            <a:r>
              <a:rPr lang="es-ES" noProof="0" dirty="0"/>
              <a:t>Segundo nivel</a:t>
            </a:r>
          </a:p>
          <a:p>
            <a:pPr marL="501036" lvl="2" indent="-167012">
              <a:spcBef>
                <a:spcPts val="0"/>
              </a:spcBef>
              <a:spcAft>
                <a:spcPts val="564"/>
              </a:spcAft>
              <a:buClrTx/>
              <a:buSzPct val="85000"/>
            </a:pPr>
            <a:r>
              <a:rPr lang="es-ES" noProof="0" dirty="0"/>
              <a:t>Tercer nivel</a:t>
            </a:r>
          </a:p>
          <a:p>
            <a:pPr marL="678488" lvl="3">
              <a:spcBef>
                <a:spcPts val="0"/>
              </a:spcBef>
              <a:spcAft>
                <a:spcPts val="564"/>
              </a:spcAft>
              <a:buClr>
                <a:srgbClr val="000000"/>
              </a:buClr>
              <a:buSzPct val="85000"/>
              <a:tabLst/>
            </a:pPr>
            <a:r>
              <a:rPr lang="es-ES" noProof="0" dirty="0"/>
              <a:t>Cuarto nivel</a:t>
            </a:r>
          </a:p>
          <a:p>
            <a:pPr lvl="4">
              <a:spcBef>
                <a:spcPts val="282"/>
              </a:spcBef>
              <a:spcAft>
                <a:spcPts val="282"/>
              </a:spcAft>
            </a:pPr>
            <a:r>
              <a:rPr lang="es-ES" noProof="0" dirty="0"/>
              <a:t>Quinto nivel</a:t>
            </a:r>
          </a:p>
        </p:txBody>
      </p:sp>
      <p:sp>
        <p:nvSpPr>
          <p:cNvPr id="603143" name="Oval 7"/>
          <p:cNvSpPr>
            <a:spLocks noChangeArrowheads="1"/>
          </p:cNvSpPr>
          <p:nvPr/>
        </p:nvSpPr>
        <p:spPr bwMode="auto">
          <a:xfrm>
            <a:off x="8885862" y="6638890"/>
            <a:ext cx="239233" cy="246440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85844" tIns="42922" rIns="85844" bIns="42922" anchor="ctr"/>
          <a:lstStyle/>
          <a:p>
            <a:pPr algn="ctr" defTabSz="914231">
              <a:defRPr/>
            </a:pPr>
            <a:r>
              <a:rPr lang="es-ES" sz="800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-</a:t>
            </a:r>
            <a:fld id="{CB3FDB1E-91D3-4292-9DD3-8BC7835E46EB}" type="slidenum">
              <a:rPr lang="es-ES" sz="800" b="1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pPr algn="ctr" defTabSz="914231">
                <a:defRPr/>
              </a:pPr>
              <a:t>‹Nº›</a:t>
            </a:fld>
            <a:r>
              <a:rPr lang="es-ES" sz="800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-</a:t>
            </a:r>
          </a:p>
        </p:txBody>
      </p:sp>
      <p:cxnSp>
        <p:nvCxnSpPr>
          <p:cNvPr id="3" name="2 Conector recto"/>
          <p:cNvCxnSpPr/>
          <p:nvPr/>
        </p:nvCxnSpPr>
        <p:spPr bwMode="auto">
          <a:xfrm>
            <a:off x="0" y="510850"/>
            <a:ext cx="9144000" cy="0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0 Imagen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030" y="6514641"/>
            <a:ext cx="1340452" cy="250519"/>
          </a:xfrm>
          <a:prstGeom prst="rect">
            <a:avLst/>
          </a:prstGeom>
        </p:spPr>
      </p:pic>
      <p:pic>
        <p:nvPicPr>
          <p:cNvPr id="8" name="Picture 2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50" y="6512621"/>
            <a:ext cx="400164" cy="252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300" b="0">
          <a:solidFill>
            <a:schemeClr val="tx2"/>
          </a:solidFill>
          <a:latin typeface="Lato" panose="020F0502020204030203" pitchFamily="34" charset="0"/>
          <a:ea typeface="+mj-ea"/>
          <a:cs typeface="Latha" panose="020B0604020202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01AAD1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01AAD1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01AAD1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01AAD1"/>
          </a:solidFill>
          <a:latin typeface="Arial Narrow" pitchFamily="34" charset="0"/>
        </a:defRPr>
      </a:lvl5pPr>
      <a:lvl6pPr marL="429460" algn="l" rtl="0" fontAlgn="base">
        <a:spcBef>
          <a:spcPct val="0"/>
        </a:spcBef>
        <a:spcAft>
          <a:spcPct val="0"/>
        </a:spcAft>
        <a:defRPr sz="2300" b="1">
          <a:solidFill>
            <a:srgbClr val="01AAD1"/>
          </a:solidFill>
          <a:latin typeface="Arial Narrow" pitchFamily="34" charset="0"/>
        </a:defRPr>
      </a:lvl6pPr>
      <a:lvl7pPr marL="858921" algn="l" rtl="0" fontAlgn="base">
        <a:spcBef>
          <a:spcPct val="0"/>
        </a:spcBef>
        <a:spcAft>
          <a:spcPct val="0"/>
        </a:spcAft>
        <a:defRPr sz="2300" b="1">
          <a:solidFill>
            <a:srgbClr val="01AAD1"/>
          </a:solidFill>
          <a:latin typeface="Arial Narrow" pitchFamily="34" charset="0"/>
        </a:defRPr>
      </a:lvl7pPr>
      <a:lvl8pPr marL="1288381" algn="l" rtl="0" fontAlgn="base">
        <a:spcBef>
          <a:spcPct val="0"/>
        </a:spcBef>
        <a:spcAft>
          <a:spcPct val="0"/>
        </a:spcAft>
        <a:defRPr sz="2300" b="1">
          <a:solidFill>
            <a:srgbClr val="01AAD1"/>
          </a:solidFill>
          <a:latin typeface="Arial Narrow" pitchFamily="34" charset="0"/>
        </a:defRPr>
      </a:lvl8pPr>
      <a:lvl9pPr marL="1717842" algn="l" rtl="0" fontAlgn="base">
        <a:spcBef>
          <a:spcPct val="0"/>
        </a:spcBef>
        <a:spcAft>
          <a:spcPct val="0"/>
        </a:spcAft>
        <a:defRPr sz="2300" b="1">
          <a:solidFill>
            <a:srgbClr val="01AAD1"/>
          </a:solidFill>
          <a:latin typeface="Arial Narrow" pitchFamily="34" charset="0"/>
        </a:defRPr>
      </a:lvl9pPr>
    </p:titleStyle>
    <p:bodyStyle>
      <a:lvl1pPr marL="334024" indent="-334024" algn="l" rtl="0" eaLnBrk="0" fontAlgn="base" hangingPunct="0">
        <a:spcBef>
          <a:spcPts val="282"/>
        </a:spcBef>
        <a:spcAft>
          <a:spcPts val="282"/>
        </a:spcAft>
        <a:buClr>
          <a:srgbClr val="000000"/>
        </a:buClr>
        <a:buFont typeface="Wingdings" pitchFamily="2" charset="2"/>
        <a:buChar char="q"/>
        <a:defRPr lang="es-ES" sz="1300" noProof="0" dirty="0" smtClean="0">
          <a:solidFill>
            <a:srgbClr val="000000"/>
          </a:solidFill>
          <a:latin typeface="Lato" panose="020F0502020204030203" pitchFamily="34" charset="0"/>
          <a:ea typeface="+mn-ea"/>
          <a:cs typeface="Latha" panose="020B0604020202020204" pitchFamily="34" charset="0"/>
        </a:defRPr>
      </a:lvl1pPr>
      <a:lvl2pPr marL="846991" indent="-682961" algn="l" rtl="0" eaLnBrk="0" fontAlgn="base" hangingPunct="0">
        <a:spcBef>
          <a:spcPct val="50000"/>
        </a:spcBef>
        <a:spcAft>
          <a:spcPct val="0"/>
        </a:spcAft>
        <a:buClr>
          <a:srgbClr val="000000"/>
        </a:buClr>
        <a:buSzPct val="85000"/>
        <a:buFont typeface="Symbol" pitchFamily="18" charset="2"/>
        <a:buChar char="-"/>
        <a:defRPr lang="es-ES" sz="1100" noProof="0" dirty="0" smtClean="0">
          <a:solidFill>
            <a:srgbClr val="000000"/>
          </a:solidFill>
          <a:latin typeface="Lato" panose="020F0502020204030203" pitchFamily="34" charset="0"/>
          <a:cs typeface="Latha" panose="020B0604020202020204" pitchFamily="34" charset="0"/>
        </a:defRPr>
      </a:lvl2pPr>
      <a:lvl3pPr marL="334024" indent="-87979" algn="l" rtl="0" eaLnBrk="0" fontAlgn="base" hangingPunct="0">
        <a:spcBef>
          <a:spcPct val="20000"/>
        </a:spcBef>
        <a:spcAft>
          <a:spcPct val="0"/>
        </a:spcAft>
        <a:buClr>
          <a:srgbClr val="000000"/>
        </a:buClr>
        <a:buSzPct val="80000"/>
        <a:buChar char="•"/>
        <a:defRPr lang="es-ES" sz="1100" noProof="0" dirty="0" smtClean="0">
          <a:solidFill>
            <a:srgbClr val="000000"/>
          </a:solidFill>
          <a:latin typeface="Lato" panose="020F0502020204030203" pitchFamily="34" charset="0"/>
          <a:cs typeface="Latha" panose="020B0604020202020204" pitchFamily="34" charset="0"/>
        </a:defRPr>
      </a:lvl3pPr>
      <a:lvl4pPr marL="1179524" indent="-177451" algn="l" rtl="0" eaLnBrk="0" fontAlgn="base" hangingPunct="0">
        <a:spcBef>
          <a:spcPct val="20000"/>
        </a:spcBef>
        <a:spcAft>
          <a:spcPct val="0"/>
        </a:spcAft>
        <a:buClr>
          <a:srgbClr val="666666"/>
        </a:buClr>
        <a:buChar char="•"/>
        <a:defRPr lang="es-ES" sz="1100" noProof="0" dirty="0" smtClean="0">
          <a:solidFill>
            <a:srgbClr val="000000"/>
          </a:solidFill>
          <a:latin typeface="Lato" panose="020F0502020204030203" pitchFamily="34" charset="0"/>
          <a:cs typeface="Latha" panose="020B0604020202020204" pitchFamily="34" charset="0"/>
        </a:defRPr>
      </a:lvl4pPr>
      <a:lvl5pPr marL="1523987" indent="-175960" algn="l" rtl="0" eaLnBrk="0" fontAlgn="base" hangingPunct="0">
        <a:spcBef>
          <a:spcPct val="20000"/>
        </a:spcBef>
        <a:spcAft>
          <a:spcPct val="0"/>
        </a:spcAft>
        <a:buChar char="•"/>
        <a:defRPr lang="es-ES" sz="1000" noProof="0" dirty="0" smtClean="0">
          <a:solidFill>
            <a:srgbClr val="000000"/>
          </a:solidFill>
          <a:latin typeface="Lato" panose="020F0502020204030203" pitchFamily="34" charset="0"/>
          <a:cs typeface="Latha" panose="020B0604020202020204" pitchFamily="34" charset="0"/>
        </a:defRPr>
      </a:lvl5pPr>
      <a:lvl6pPr marL="1953448" indent="-175960" algn="l" rtl="0" fontAlgn="base">
        <a:spcBef>
          <a:spcPct val="20000"/>
        </a:spcBef>
        <a:spcAft>
          <a:spcPct val="0"/>
        </a:spcAft>
        <a:buChar char="•"/>
        <a:defRPr sz="900">
          <a:solidFill>
            <a:srgbClr val="000000"/>
          </a:solidFill>
          <a:latin typeface="+mn-lt"/>
        </a:defRPr>
      </a:lvl6pPr>
      <a:lvl7pPr marL="2382908" indent="-175960" algn="l" rtl="0" fontAlgn="base">
        <a:spcBef>
          <a:spcPct val="20000"/>
        </a:spcBef>
        <a:spcAft>
          <a:spcPct val="0"/>
        </a:spcAft>
        <a:buChar char="•"/>
        <a:defRPr sz="900">
          <a:solidFill>
            <a:srgbClr val="000000"/>
          </a:solidFill>
          <a:latin typeface="+mn-lt"/>
        </a:defRPr>
      </a:lvl7pPr>
      <a:lvl8pPr marL="2812368" indent="-175960" algn="l" rtl="0" fontAlgn="base">
        <a:spcBef>
          <a:spcPct val="20000"/>
        </a:spcBef>
        <a:spcAft>
          <a:spcPct val="0"/>
        </a:spcAft>
        <a:buChar char="•"/>
        <a:defRPr sz="900">
          <a:solidFill>
            <a:srgbClr val="000000"/>
          </a:solidFill>
          <a:latin typeface="+mn-lt"/>
        </a:defRPr>
      </a:lvl8pPr>
      <a:lvl9pPr marL="3241829" indent="-175960" algn="l" rtl="0" fontAlgn="base">
        <a:spcBef>
          <a:spcPct val="20000"/>
        </a:spcBef>
        <a:spcAft>
          <a:spcPct val="0"/>
        </a:spcAft>
        <a:buChar char="•"/>
        <a:defRPr sz="900">
          <a:solidFill>
            <a:srgbClr val="000000"/>
          </a:solidFill>
          <a:latin typeface="+mn-lt"/>
        </a:defRPr>
      </a:lvl9pPr>
    </p:bodyStyle>
    <p:otherStyle>
      <a:defPPr>
        <a:defRPr lang="es-ES"/>
      </a:defPPr>
      <a:lvl1pPr marL="0" algn="l" defTabSz="8589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9460" algn="l" defTabSz="8589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8921" algn="l" defTabSz="8589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8381" algn="l" defTabSz="8589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7842" algn="l" defTabSz="8589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7301" algn="l" defTabSz="8589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6762" algn="l" defTabSz="8589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06222" algn="l" defTabSz="8589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35682" algn="l" defTabSz="85892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64675726"/>
              </p:ext>
            </p:extLst>
          </p:nvPr>
        </p:nvGraphicFramePr>
        <p:xfrm>
          <a:off x="1478" y="1513"/>
          <a:ext cx="1476" cy="15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6" name="Diapositiva de think-cell" r:id="rId7" imgW="360" imgH="360" progId="">
                  <p:embed/>
                </p:oleObj>
              </mc:Choice>
              <mc:Fallback>
                <p:oleObj name="Diapositiva de think-cell" r:id="rId7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8" y="1513"/>
                        <a:ext cx="1476" cy="151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12233" y="71946"/>
            <a:ext cx="7720040" cy="342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3822" rIns="0" bIns="3382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noProof="0" dirty="0"/>
              <a:t>Haga clic para cambiar el estilo de título	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2121" y="651631"/>
            <a:ext cx="8565116" cy="1293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3822" rIns="0" bIns="33822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spcBef>
                <a:spcPts val="0"/>
              </a:spcBef>
              <a:spcAft>
                <a:spcPts val="564"/>
              </a:spcAft>
            </a:pPr>
            <a:r>
              <a:rPr lang="es-ES" noProof="0" dirty="0"/>
              <a:t>Haga clic para modificar el estilo de texto del patrón</a:t>
            </a:r>
          </a:p>
          <a:p>
            <a:pPr marL="335578" lvl="1" indent="-171518">
              <a:spcBef>
                <a:spcPts val="0"/>
              </a:spcBef>
              <a:spcAft>
                <a:spcPts val="564"/>
              </a:spcAft>
              <a:buClrTx/>
            </a:pPr>
            <a:r>
              <a:rPr lang="es-ES" noProof="0" dirty="0"/>
              <a:t>Segundo nivel</a:t>
            </a:r>
          </a:p>
          <a:p>
            <a:pPr marL="501129" lvl="2" indent="-167043">
              <a:spcBef>
                <a:spcPts val="0"/>
              </a:spcBef>
              <a:spcAft>
                <a:spcPts val="564"/>
              </a:spcAft>
              <a:buClrTx/>
              <a:buSzPct val="85000"/>
            </a:pPr>
            <a:r>
              <a:rPr lang="es-ES" noProof="0" dirty="0"/>
              <a:t>Tercer nivel</a:t>
            </a:r>
          </a:p>
          <a:p>
            <a:pPr marL="678613" lvl="3">
              <a:spcBef>
                <a:spcPts val="0"/>
              </a:spcBef>
              <a:spcAft>
                <a:spcPts val="564"/>
              </a:spcAft>
              <a:buClr>
                <a:srgbClr val="000000"/>
              </a:buClr>
              <a:buSzPct val="85000"/>
              <a:tabLst/>
            </a:pPr>
            <a:r>
              <a:rPr lang="es-ES" noProof="0" dirty="0"/>
              <a:t>Cuarto nivel</a:t>
            </a:r>
          </a:p>
          <a:p>
            <a:pPr lvl="4">
              <a:spcBef>
                <a:spcPts val="282"/>
              </a:spcBef>
              <a:spcAft>
                <a:spcPts val="282"/>
              </a:spcAft>
            </a:pPr>
            <a:r>
              <a:rPr lang="es-ES" noProof="0" dirty="0"/>
              <a:t>Quinto nivel</a:t>
            </a:r>
          </a:p>
        </p:txBody>
      </p:sp>
      <p:sp>
        <p:nvSpPr>
          <p:cNvPr id="603143" name="Oval 7"/>
          <p:cNvSpPr>
            <a:spLocks noChangeArrowheads="1"/>
          </p:cNvSpPr>
          <p:nvPr/>
        </p:nvSpPr>
        <p:spPr bwMode="auto">
          <a:xfrm>
            <a:off x="8885861" y="6638890"/>
            <a:ext cx="239233" cy="246440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85860" tIns="42930" rIns="85860" bIns="42930" anchor="ctr"/>
          <a:lstStyle/>
          <a:p>
            <a:pPr algn="ctr" defTabSz="914400">
              <a:defRPr/>
            </a:pPr>
            <a:r>
              <a:rPr lang="es-ES" sz="800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-</a:t>
            </a:r>
            <a:fld id="{CB3FDB1E-91D3-4292-9DD3-8BC7835E46EB}" type="slidenum">
              <a:rPr lang="es-ES" sz="800" b="1" smtClean="0">
                <a:solidFill>
                  <a:srgbClr val="000000"/>
                </a:solidFill>
                <a:latin typeface="Arial"/>
                <a:ea typeface="+mn-ea"/>
                <a:cs typeface="+mn-cs"/>
              </a:rPr>
              <a:pPr algn="ctr" defTabSz="914400">
                <a:defRPr/>
              </a:pPr>
              <a:t>‹Nº›</a:t>
            </a:fld>
            <a:r>
              <a:rPr lang="es-ES" sz="800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-</a:t>
            </a:r>
          </a:p>
        </p:txBody>
      </p:sp>
      <p:cxnSp>
        <p:nvCxnSpPr>
          <p:cNvPr id="3" name="2 Conector recto"/>
          <p:cNvCxnSpPr/>
          <p:nvPr/>
        </p:nvCxnSpPr>
        <p:spPr bwMode="auto">
          <a:xfrm>
            <a:off x="0" y="510850"/>
            <a:ext cx="9144000" cy="0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1" name="0 Imagen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030" y="6514640"/>
            <a:ext cx="1340452" cy="250519"/>
          </a:xfrm>
          <a:prstGeom prst="rect">
            <a:avLst/>
          </a:prstGeom>
        </p:spPr>
      </p:pic>
      <p:pic>
        <p:nvPicPr>
          <p:cNvPr id="8" name="Picture 2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50" y="6512621"/>
            <a:ext cx="400164" cy="252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300" b="0">
          <a:solidFill>
            <a:schemeClr val="tx2"/>
          </a:solidFill>
          <a:latin typeface="Lato" panose="020F0502020204030203" pitchFamily="34" charset="0"/>
          <a:ea typeface="+mj-ea"/>
          <a:cs typeface="Latha" panose="020B0604020202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01AAD1"/>
          </a:solidFill>
          <a:latin typeface="Arial Narrow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01AAD1"/>
          </a:solidFill>
          <a:latin typeface="Arial Narrow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01AAD1"/>
          </a:solidFill>
          <a:latin typeface="Arial Narrow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01AAD1"/>
          </a:solidFill>
          <a:latin typeface="Arial Narrow" pitchFamily="34" charset="0"/>
        </a:defRPr>
      </a:lvl5pPr>
      <a:lvl6pPr marL="429539" algn="l" rtl="0" fontAlgn="base">
        <a:spcBef>
          <a:spcPct val="0"/>
        </a:spcBef>
        <a:spcAft>
          <a:spcPct val="0"/>
        </a:spcAft>
        <a:defRPr sz="2300" b="1">
          <a:solidFill>
            <a:srgbClr val="01AAD1"/>
          </a:solidFill>
          <a:latin typeface="Arial Narrow" pitchFamily="34" charset="0"/>
        </a:defRPr>
      </a:lvl6pPr>
      <a:lvl7pPr marL="859079" algn="l" rtl="0" fontAlgn="base">
        <a:spcBef>
          <a:spcPct val="0"/>
        </a:spcBef>
        <a:spcAft>
          <a:spcPct val="0"/>
        </a:spcAft>
        <a:defRPr sz="2300" b="1">
          <a:solidFill>
            <a:srgbClr val="01AAD1"/>
          </a:solidFill>
          <a:latin typeface="Arial Narrow" pitchFamily="34" charset="0"/>
        </a:defRPr>
      </a:lvl7pPr>
      <a:lvl8pPr marL="1288618" algn="l" rtl="0" fontAlgn="base">
        <a:spcBef>
          <a:spcPct val="0"/>
        </a:spcBef>
        <a:spcAft>
          <a:spcPct val="0"/>
        </a:spcAft>
        <a:defRPr sz="2300" b="1">
          <a:solidFill>
            <a:srgbClr val="01AAD1"/>
          </a:solidFill>
          <a:latin typeface="Arial Narrow" pitchFamily="34" charset="0"/>
        </a:defRPr>
      </a:lvl8pPr>
      <a:lvl9pPr marL="1718158" algn="l" rtl="0" fontAlgn="base">
        <a:spcBef>
          <a:spcPct val="0"/>
        </a:spcBef>
        <a:spcAft>
          <a:spcPct val="0"/>
        </a:spcAft>
        <a:defRPr sz="2300" b="1">
          <a:solidFill>
            <a:srgbClr val="01AAD1"/>
          </a:solidFill>
          <a:latin typeface="Arial Narrow" pitchFamily="34" charset="0"/>
        </a:defRPr>
      </a:lvl9pPr>
    </p:titleStyle>
    <p:bodyStyle>
      <a:lvl1pPr marL="334086" indent="-334086" algn="l" rtl="0" eaLnBrk="0" fontAlgn="base" hangingPunct="0">
        <a:spcBef>
          <a:spcPts val="282"/>
        </a:spcBef>
        <a:spcAft>
          <a:spcPts val="282"/>
        </a:spcAft>
        <a:buClr>
          <a:srgbClr val="000000"/>
        </a:buClr>
        <a:buFont typeface="Wingdings" pitchFamily="2" charset="2"/>
        <a:buChar char="q"/>
        <a:defRPr lang="es-ES" sz="1300" noProof="0" dirty="0" smtClean="0">
          <a:solidFill>
            <a:srgbClr val="000000"/>
          </a:solidFill>
          <a:latin typeface="Lato" panose="020F0502020204030203" pitchFamily="34" charset="0"/>
          <a:ea typeface="+mn-ea"/>
          <a:cs typeface="Latha" panose="020B0604020202020204" pitchFamily="34" charset="0"/>
        </a:defRPr>
      </a:lvl1pPr>
      <a:lvl2pPr marL="847147" indent="-683087" algn="l" rtl="0" eaLnBrk="0" fontAlgn="base" hangingPunct="0">
        <a:spcBef>
          <a:spcPct val="50000"/>
        </a:spcBef>
        <a:spcAft>
          <a:spcPct val="0"/>
        </a:spcAft>
        <a:buClr>
          <a:srgbClr val="000000"/>
        </a:buClr>
        <a:buSzPct val="85000"/>
        <a:buFont typeface="Symbol" pitchFamily="18" charset="2"/>
        <a:buChar char="-"/>
        <a:defRPr lang="es-ES" sz="1100" noProof="0" dirty="0" smtClean="0">
          <a:solidFill>
            <a:srgbClr val="000000"/>
          </a:solidFill>
          <a:latin typeface="Lato" panose="020F0502020204030203" pitchFamily="34" charset="0"/>
          <a:cs typeface="Latha" panose="020B0604020202020204" pitchFamily="34" charset="0"/>
        </a:defRPr>
      </a:lvl2pPr>
      <a:lvl3pPr marL="334086" indent="-87996" algn="l" rtl="0" eaLnBrk="0" fontAlgn="base" hangingPunct="0">
        <a:spcBef>
          <a:spcPct val="20000"/>
        </a:spcBef>
        <a:spcAft>
          <a:spcPct val="0"/>
        </a:spcAft>
        <a:buClr>
          <a:srgbClr val="000000"/>
        </a:buClr>
        <a:buSzPct val="80000"/>
        <a:buChar char="•"/>
        <a:defRPr lang="es-ES" sz="1100" noProof="0" dirty="0" smtClean="0">
          <a:solidFill>
            <a:srgbClr val="000000"/>
          </a:solidFill>
          <a:latin typeface="Lato" panose="020F0502020204030203" pitchFamily="34" charset="0"/>
          <a:cs typeface="Latha" panose="020B0604020202020204" pitchFamily="34" charset="0"/>
        </a:defRPr>
      </a:lvl3pPr>
      <a:lvl4pPr marL="1179742" indent="-177484" algn="l" rtl="0" eaLnBrk="0" fontAlgn="base" hangingPunct="0">
        <a:spcBef>
          <a:spcPct val="20000"/>
        </a:spcBef>
        <a:spcAft>
          <a:spcPct val="0"/>
        </a:spcAft>
        <a:buClr>
          <a:srgbClr val="666666"/>
        </a:buClr>
        <a:buChar char="•"/>
        <a:defRPr lang="es-ES" sz="1100" noProof="0" dirty="0" smtClean="0">
          <a:solidFill>
            <a:srgbClr val="000000"/>
          </a:solidFill>
          <a:latin typeface="Lato" panose="020F0502020204030203" pitchFamily="34" charset="0"/>
          <a:cs typeface="Latha" panose="020B0604020202020204" pitchFamily="34" charset="0"/>
        </a:defRPr>
      </a:lvl4pPr>
      <a:lvl5pPr marL="1524268" indent="-175992" algn="l" rtl="0" eaLnBrk="0" fontAlgn="base" hangingPunct="0">
        <a:spcBef>
          <a:spcPct val="20000"/>
        </a:spcBef>
        <a:spcAft>
          <a:spcPct val="0"/>
        </a:spcAft>
        <a:buChar char="•"/>
        <a:defRPr lang="es-ES" sz="1000" noProof="0" dirty="0" smtClean="0">
          <a:solidFill>
            <a:srgbClr val="000000"/>
          </a:solidFill>
          <a:latin typeface="Lato" panose="020F0502020204030203" pitchFamily="34" charset="0"/>
          <a:cs typeface="Latha" panose="020B0604020202020204" pitchFamily="34" charset="0"/>
        </a:defRPr>
      </a:lvl5pPr>
      <a:lvl6pPr marL="1953808" indent="-175992" algn="l" rtl="0" fontAlgn="base">
        <a:spcBef>
          <a:spcPct val="20000"/>
        </a:spcBef>
        <a:spcAft>
          <a:spcPct val="0"/>
        </a:spcAft>
        <a:buChar char="•"/>
        <a:defRPr sz="900">
          <a:solidFill>
            <a:srgbClr val="000000"/>
          </a:solidFill>
          <a:latin typeface="+mn-lt"/>
        </a:defRPr>
      </a:lvl6pPr>
      <a:lvl7pPr marL="2383347" indent="-175992" algn="l" rtl="0" fontAlgn="base">
        <a:spcBef>
          <a:spcPct val="20000"/>
        </a:spcBef>
        <a:spcAft>
          <a:spcPct val="0"/>
        </a:spcAft>
        <a:buChar char="•"/>
        <a:defRPr sz="900">
          <a:solidFill>
            <a:srgbClr val="000000"/>
          </a:solidFill>
          <a:latin typeface="+mn-lt"/>
        </a:defRPr>
      </a:lvl7pPr>
      <a:lvl8pPr marL="2812886" indent="-175992" algn="l" rtl="0" fontAlgn="base">
        <a:spcBef>
          <a:spcPct val="20000"/>
        </a:spcBef>
        <a:spcAft>
          <a:spcPct val="0"/>
        </a:spcAft>
        <a:buChar char="•"/>
        <a:defRPr sz="900">
          <a:solidFill>
            <a:srgbClr val="000000"/>
          </a:solidFill>
          <a:latin typeface="+mn-lt"/>
        </a:defRPr>
      </a:lvl8pPr>
      <a:lvl9pPr marL="3242426" indent="-175992" algn="l" rtl="0" fontAlgn="base">
        <a:spcBef>
          <a:spcPct val="20000"/>
        </a:spcBef>
        <a:spcAft>
          <a:spcPct val="0"/>
        </a:spcAft>
        <a:buChar char="•"/>
        <a:defRPr sz="900">
          <a:solidFill>
            <a:srgbClr val="000000"/>
          </a:solidFill>
          <a:latin typeface="+mn-lt"/>
        </a:defRPr>
      </a:lvl9pPr>
    </p:bodyStyle>
    <p:otherStyle>
      <a:defPPr>
        <a:defRPr lang="es-ES"/>
      </a:defPPr>
      <a:lvl1pPr marL="0" algn="l" defTabSz="8590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9539" algn="l" defTabSz="8590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9079" algn="l" defTabSz="8590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8618" algn="l" defTabSz="8590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8158" algn="l" defTabSz="8590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7697" algn="l" defTabSz="8590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7236" algn="l" defTabSz="8590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06776" algn="l" defTabSz="8590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36315" algn="l" defTabSz="8590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png"/><Relationship Id="rId5" Type="http://schemas.openxmlformats.org/officeDocument/2006/relationships/image" Target="../media/image6.jpeg"/><Relationship Id="rId4" Type="http://schemas.openxmlformats.org/officeDocument/2006/relationships/image" Target="../media/image13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11" Type="http://schemas.openxmlformats.org/officeDocument/2006/relationships/image" Target="../media/image22.wmf"/><Relationship Id="rId5" Type="http://schemas.openxmlformats.org/officeDocument/2006/relationships/image" Target="../media/image17.jpeg"/><Relationship Id="rId10" Type="http://schemas.openxmlformats.org/officeDocument/2006/relationships/image" Target="../media/image21.png"/><Relationship Id="rId4" Type="http://schemas.openxmlformats.org/officeDocument/2006/relationships/image" Target="../media/image16.jpeg"/><Relationship Id="rId9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gif"/><Relationship Id="rId13" Type="http://schemas.openxmlformats.org/officeDocument/2006/relationships/image" Target="../media/image32.jpeg"/><Relationship Id="rId18" Type="http://schemas.openxmlformats.org/officeDocument/2006/relationships/image" Target="../media/image37.jpeg"/><Relationship Id="rId26" Type="http://schemas.openxmlformats.org/officeDocument/2006/relationships/image" Target="../media/image45.jpeg"/><Relationship Id="rId39" Type="http://schemas.openxmlformats.org/officeDocument/2006/relationships/image" Target="../media/image58.jpeg"/><Relationship Id="rId3" Type="http://schemas.openxmlformats.org/officeDocument/2006/relationships/image" Target="../media/image14.png"/><Relationship Id="rId21" Type="http://schemas.openxmlformats.org/officeDocument/2006/relationships/image" Target="../media/image40.jpeg"/><Relationship Id="rId34" Type="http://schemas.openxmlformats.org/officeDocument/2006/relationships/image" Target="../media/image53.jpeg"/><Relationship Id="rId7" Type="http://schemas.openxmlformats.org/officeDocument/2006/relationships/image" Target="../media/image26.jpeg"/><Relationship Id="rId12" Type="http://schemas.openxmlformats.org/officeDocument/2006/relationships/image" Target="../media/image31.jpeg"/><Relationship Id="rId17" Type="http://schemas.openxmlformats.org/officeDocument/2006/relationships/image" Target="../media/image36.jpeg"/><Relationship Id="rId25" Type="http://schemas.openxmlformats.org/officeDocument/2006/relationships/image" Target="../media/image44.jpeg"/><Relationship Id="rId33" Type="http://schemas.openxmlformats.org/officeDocument/2006/relationships/image" Target="../media/image52.jpeg"/><Relationship Id="rId38" Type="http://schemas.openxmlformats.org/officeDocument/2006/relationships/image" Target="../media/image57.jpe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5.jpeg"/><Relationship Id="rId20" Type="http://schemas.openxmlformats.org/officeDocument/2006/relationships/image" Target="../media/image39.jpeg"/><Relationship Id="rId29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jpeg"/><Relationship Id="rId11" Type="http://schemas.openxmlformats.org/officeDocument/2006/relationships/image" Target="../media/image30.jpeg"/><Relationship Id="rId24" Type="http://schemas.openxmlformats.org/officeDocument/2006/relationships/image" Target="../media/image43.emf"/><Relationship Id="rId32" Type="http://schemas.openxmlformats.org/officeDocument/2006/relationships/image" Target="../media/image51.jpeg"/><Relationship Id="rId37" Type="http://schemas.openxmlformats.org/officeDocument/2006/relationships/image" Target="../media/image56.jpeg"/><Relationship Id="rId40" Type="http://schemas.openxmlformats.org/officeDocument/2006/relationships/image" Target="../media/image59.jpeg"/><Relationship Id="rId5" Type="http://schemas.openxmlformats.org/officeDocument/2006/relationships/image" Target="../media/image24.jpeg"/><Relationship Id="rId15" Type="http://schemas.openxmlformats.org/officeDocument/2006/relationships/image" Target="../media/image34.gif"/><Relationship Id="rId23" Type="http://schemas.openxmlformats.org/officeDocument/2006/relationships/image" Target="../media/image42.jpeg"/><Relationship Id="rId28" Type="http://schemas.openxmlformats.org/officeDocument/2006/relationships/image" Target="../media/image47.jpeg"/><Relationship Id="rId36" Type="http://schemas.openxmlformats.org/officeDocument/2006/relationships/image" Target="../media/image55.jpeg"/><Relationship Id="rId10" Type="http://schemas.openxmlformats.org/officeDocument/2006/relationships/image" Target="../media/image29.jpeg"/><Relationship Id="rId19" Type="http://schemas.openxmlformats.org/officeDocument/2006/relationships/image" Target="../media/image38.jpeg"/><Relationship Id="rId31" Type="http://schemas.openxmlformats.org/officeDocument/2006/relationships/image" Target="../media/image50.jpeg"/><Relationship Id="rId4" Type="http://schemas.openxmlformats.org/officeDocument/2006/relationships/image" Target="../media/image23.jpeg"/><Relationship Id="rId9" Type="http://schemas.openxmlformats.org/officeDocument/2006/relationships/image" Target="../media/image28.jpeg"/><Relationship Id="rId14" Type="http://schemas.openxmlformats.org/officeDocument/2006/relationships/image" Target="../media/image33.png"/><Relationship Id="rId22" Type="http://schemas.openxmlformats.org/officeDocument/2006/relationships/image" Target="../media/image41.jpeg"/><Relationship Id="rId27" Type="http://schemas.openxmlformats.org/officeDocument/2006/relationships/image" Target="../media/image46.emf"/><Relationship Id="rId30" Type="http://schemas.openxmlformats.org/officeDocument/2006/relationships/image" Target="../media/image49.jpeg"/><Relationship Id="rId35" Type="http://schemas.openxmlformats.org/officeDocument/2006/relationships/image" Target="../media/image54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60.png"/><Relationship Id="rId7" Type="http://schemas.openxmlformats.org/officeDocument/2006/relationships/image" Target="../media/image6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jpeg"/><Relationship Id="rId5" Type="http://schemas.openxmlformats.org/officeDocument/2006/relationships/image" Target="../media/image62.jpeg"/><Relationship Id="rId4" Type="http://schemas.openxmlformats.org/officeDocument/2006/relationships/image" Target="../media/image6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66.jpeg"/><Relationship Id="rId4" Type="http://schemas.openxmlformats.org/officeDocument/2006/relationships/image" Target="../media/image65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13" Type="http://schemas.openxmlformats.org/officeDocument/2006/relationships/image" Target="../media/image74.png"/><Relationship Id="rId18" Type="http://schemas.openxmlformats.org/officeDocument/2006/relationships/image" Target="../media/image79.png"/><Relationship Id="rId26" Type="http://schemas.openxmlformats.org/officeDocument/2006/relationships/image" Target="../media/image87.jpeg"/><Relationship Id="rId3" Type="http://schemas.openxmlformats.org/officeDocument/2006/relationships/image" Target="../media/image60.png"/><Relationship Id="rId21" Type="http://schemas.openxmlformats.org/officeDocument/2006/relationships/image" Target="../media/image82.png"/><Relationship Id="rId34" Type="http://schemas.openxmlformats.org/officeDocument/2006/relationships/image" Target="../media/image95.png"/><Relationship Id="rId7" Type="http://schemas.microsoft.com/office/2007/relationships/hdphoto" Target="../media/hdphoto1.wdp"/><Relationship Id="rId12" Type="http://schemas.openxmlformats.org/officeDocument/2006/relationships/image" Target="../media/image73.png"/><Relationship Id="rId17" Type="http://schemas.openxmlformats.org/officeDocument/2006/relationships/image" Target="../media/image78.png"/><Relationship Id="rId25" Type="http://schemas.openxmlformats.org/officeDocument/2006/relationships/image" Target="../media/image86.jpeg"/><Relationship Id="rId33" Type="http://schemas.openxmlformats.org/officeDocument/2006/relationships/image" Target="../media/image94.jpe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77.jpeg"/><Relationship Id="rId20" Type="http://schemas.openxmlformats.org/officeDocument/2006/relationships/image" Target="../media/image81.png"/><Relationship Id="rId29" Type="http://schemas.openxmlformats.org/officeDocument/2006/relationships/image" Target="../media/image9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jpeg"/><Relationship Id="rId11" Type="http://schemas.openxmlformats.org/officeDocument/2006/relationships/image" Target="../media/image72.jpeg"/><Relationship Id="rId24" Type="http://schemas.openxmlformats.org/officeDocument/2006/relationships/image" Target="../media/image85.png"/><Relationship Id="rId32" Type="http://schemas.openxmlformats.org/officeDocument/2006/relationships/image" Target="../media/image93.jpeg"/><Relationship Id="rId37" Type="http://schemas.openxmlformats.org/officeDocument/2006/relationships/image" Target="../media/image14.png"/><Relationship Id="rId5" Type="http://schemas.openxmlformats.org/officeDocument/2006/relationships/image" Target="../media/image67.jpeg"/><Relationship Id="rId15" Type="http://schemas.openxmlformats.org/officeDocument/2006/relationships/image" Target="../media/image76.png"/><Relationship Id="rId23" Type="http://schemas.openxmlformats.org/officeDocument/2006/relationships/image" Target="../media/image84.png"/><Relationship Id="rId28" Type="http://schemas.openxmlformats.org/officeDocument/2006/relationships/image" Target="../media/image89.jpeg"/><Relationship Id="rId36" Type="http://schemas.openxmlformats.org/officeDocument/2006/relationships/image" Target="../media/image97.png"/><Relationship Id="rId10" Type="http://schemas.openxmlformats.org/officeDocument/2006/relationships/image" Target="../media/image71.png"/><Relationship Id="rId19" Type="http://schemas.openxmlformats.org/officeDocument/2006/relationships/image" Target="../media/image80.png"/><Relationship Id="rId31" Type="http://schemas.openxmlformats.org/officeDocument/2006/relationships/image" Target="../media/image92.png"/><Relationship Id="rId4" Type="http://schemas.openxmlformats.org/officeDocument/2006/relationships/hyperlink" Target="http://www.google.es/url?sa=i&amp;rct=j&amp;q=&amp;esrc=s&amp;source=images&amp;cd=&amp;cad=rja&amp;uact=8&amp;ved=0ahUKEwiR1aj6jI_SAhVJ1xQKHb2YCz4QjRwIBw&amp;url=http://www.telemundo.com/noticias/2015/09/27/banzai-pipeline-y-otros-14-lugares-con-olas-impresionantes&amp;psig=AFQjCNHgTZo-ou_5143Rg5HyiL0lbmjj8Q&amp;ust=1487144990985848" TargetMode="External"/><Relationship Id="rId9" Type="http://schemas.openxmlformats.org/officeDocument/2006/relationships/image" Target="../media/image70.png"/><Relationship Id="rId14" Type="http://schemas.openxmlformats.org/officeDocument/2006/relationships/image" Target="../media/image75.png"/><Relationship Id="rId22" Type="http://schemas.openxmlformats.org/officeDocument/2006/relationships/image" Target="../media/image83.png"/><Relationship Id="rId27" Type="http://schemas.openxmlformats.org/officeDocument/2006/relationships/image" Target="../media/image88.jpeg"/><Relationship Id="rId30" Type="http://schemas.openxmlformats.org/officeDocument/2006/relationships/image" Target="../media/image91.jpeg"/><Relationship Id="rId35" Type="http://schemas.openxmlformats.org/officeDocument/2006/relationships/image" Target="../media/image96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99.jpeg"/><Relationship Id="rId4" Type="http://schemas.openxmlformats.org/officeDocument/2006/relationships/image" Target="../media/image9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exto 6"/>
          <p:cNvSpPr>
            <a:spLocks noGrp="1"/>
          </p:cNvSpPr>
          <p:nvPr>
            <p:ph type="body" sz="quarter" idx="13"/>
          </p:nvPr>
        </p:nvSpPr>
        <p:spPr>
          <a:xfrm>
            <a:off x="186683" y="1306555"/>
            <a:ext cx="8760205" cy="1196834"/>
          </a:xfrm>
        </p:spPr>
        <p:txBody>
          <a:bodyPr/>
          <a:lstStyle/>
          <a:p>
            <a:pPr algn="ctr"/>
            <a:r>
              <a:rPr lang="es-ES" sz="3600" b="1" dirty="0">
                <a:latin typeface="Lato" pitchFamily="34" charset="0"/>
              </a:rPr>
              <a:t>Compra Pública Precomercial</a:t>
            </a:r>
          </a:p>
          <a:p>
            <a:pPr algn="ctr"/>
            <a:r>
              <a:rPr lang="es-ES" sz="3600" b="1" dirty="0">
                <a:latin typeface="Lato" pitchFamily="34" charset="0"/>
              </a:rPr>
              <a:t>Dispositivo energía de las olas</a:t>
            </a:r>
          </a:p>
          <a:p>
            <a:pPr algn="ctr"/>
            <a:endParaRPr lang="es-ES" sz="3600" b="1" dirty="0">
              <a:solidFill>
                <a:srgbClr val="002060"/>
              </a:solidFill>
              <a:latin typeface="Lato" pitchFamily="34" charset="0"/>
            </a:endParaRPr>
          </a:p>
        </p:txBody>
      </p:sp>
      <p:sp>
        <p:nvSpPr>
          <p:cNvPr id="8" name="Marcador de texto vertical 7"/>
          <p:cNvSpPr>
            <a:spLocks noGrp="1"/>
          </p:cNvSpPr>
          <p:nvPr>
            <p:ph type="body" orient="vert" sz="quarter" idx="14"/>
          </p:nvPr>
        </p:nvSpPr>
        <p:spPr>
          <a:xfrm rot="10800000">
            <a:off x="363055" y="5466117"/>
            <a:ext cx="409302" cy="1182854"/>
          </a:xfrm>
        </p:spPr>
        <p:txBody>
          <a:bodyPr/>
          <a:lstStyle/>
          <a:p>
            <a:r>
              <a:rPr lang="es-ES" sz="1000" dirty="0"/>
              <a:t>25 noviembre 2019</a:t>
            </a:r>
          </a:p>
          <a:p>
            <a:endParaRPr lang="es-ES" sz="1000" dirty="0"/>
          </a:p>
        </p:txBody>
      </p:sp>
      <p:sp>
        <p:nvSpPr>
          <p:cNvPr id="4" name="Marcador de posición de imagen 5"/>
          <p:cNvSpPr>
            <a:spLocks noGrp="1"/>
          </p:cNvSpPr>
          <p:nvPr>
            <p:ph type="pic" sz="quarter" idx="12"/>
          </p:nvPr>
        </p:nvSpPr>
        <p:spPr>
          <a:xfrm>
            <a:off x="3244339" y="5266908"/>
            <a:ext cx="5902510" cy="1581272"/>
          </a:xfrm>
          <a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</p:sp>
      <p:grpSp>
        <p:nvGrpSpPr>
          <p:cNvPr id="9" name="Agrupar 9"/>
          <p:cNvGrpSpPr/>
          <p:nvPr/>
        </p:nvGrpSpPr>
        <p:grpSpPr>
          <a:xfrm>
            <a:off x="1691007" y="3613067"/>
            <a:ext cx="5751556" cy="896221"/>
            <a:chOff x="1533256" y="3850499"/>
            <a:chExt cx="5751556" cy="896221"/>
          </a:xfrm>
        </p:grpSpPr>
        <p:pic>
          <p:nvPicPr>
            <p:cNvPr id="11" name="Imagen 1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33256" y="4029474"/>
              <a:ext cx="3121966" cy="512197"/>
            </a:xfrm>
            <a:prstGeom prst="rect">
              <a:avLst/>
            </a:prstGeom>
          </p:spPr>
        </p:pic>
        <p:pic>
          <p:nvPicPr>
            <p:cNvPr id="12" name="Imagen 11" descr="EVE LOGO HORIZONTAL-01.jp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6541" y="3850499"/>
              <a:ext cx="2438271" cy="896221"/>
            </a:xfrm>
            <a:prstGeom prst="rect">
              <a:avLst/>
            </a:prstGeom>
          </p:spPr>
        </p:pic>
      </p:grpSp>
      <p:pic>
        <p:nvPicPr>
          <p:cNvPr id="10" name="Imagen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79" y="117175"/>
            <a:ext cx="2079487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304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2"/>
          <p:cNvSpPr txBox="1">
            <a:spLocks/>
          </p:cNvSpPr>
          <p:nvPr/>
        </p:nvSpPr>
        <p:spPr>
          <a:xfrm>
            <a:off x="15248" y="3286"/>
            <a:ext cx="5486967" cy="761418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defTabSz="914231" fontAlgn="auto">
              <a:spcBef>
                <a:spcPts val="2399"/>
              </a:spcBef>
              <a:spcAft>
                <a:spcPts val="0"/>
              </a:spcAft>
              <a:buSzPct val="90000"/>
              <a:defRPr/>
            </a:pPr>
            <a:r>
              <a:rPr lang="es-ES" sz="2800" b="1" i="1" dirty="0">
                <a:solidFill>
                  <a:srgbClr val="033E7E"/>
                </a:solidFill>
                <a:latin typeface="Lato" pitchFamily="34" charset="0"/>
                <a:ea typeface="+mn-ea"/>
                <a:cs typeface="Univers 45 Light"/>
              </a:rPr>
              <a:t>INDEFINICIÓN TECNOLÓGICA</a:t>
            </a:r>
          </a:p>
        </p:txBody>
      </p:sp>
      <p:pic>
        <p:nvPicPr>
          <p:cNvPr id="9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9245" y="1972197"/>
            <a:ext cx="2508250" cy="19748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10" name="Picture 12" descr="FINALFINALPROPERLOGO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46740" y="1394925"/>
            <a:ext cx="1449388" cy="266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352342" y="1392937"/>
            <a:ext cx="1644650" cy="23780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3" name="Picture 4" descr="Wave Dragon Wave Energy Converter Prototype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82715" y="4741020"/>
            <a:ext cx="2514600" cy="175331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14" name="Picture 9" descr="rig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352912" y="5015229"/>
            <a:ext cx="2428875" cy="16811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15" name="full-scale prototype seatrials.mpeg">
            <a:hlinkClick r:id="" action="ppaction://media"/>
          </p:cNvPr>
          <p:cNvPicPr>
            <a:picLocks noRot="1"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337384" y="4428587"/>
            <a:ext cx="2474912" cy="200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702" y="117175"/>
            <a:ext cx="1386327" cy="576000"/>
          </a:xfrm>
          <a:prstGeom prst="rect">
            <a:avLst/>
          </a:prstGeom>
        </p:spPr>
      </p:pic>
      <p:grpSp>
        <p:nvGrpSpPr>
          <p:cNvPr id="16" name="23 Grupo">
            <a:extLst>
              <a:ext uri="{FF2B5EF4-FFF2-40B4-BE49-F238E27FC236}">
                <a16:creationId xmlns:a16="http://schemas.microsoft.com/office/drawing/2014/main" id="{9CF8B217-A732-4F01-A6D1-A99251D66AAF}"/>
              </a:ext>
            </a:extLst>
          </p:cNvPr>
          <p:cNvGrpSpPr/>
          <p:nvPr/>
        </p:nvGrpSpPr>
        <p:grpSpPr>
          <a:xfrm>
            <a:off x="4729214" y="1721183"/>
            <a:ext cx="2428875" cy="1765781"/>
            <a:chOff x="403963" y="3507233"/>
            <a:chExt cx="2316332" cy="1596038"/>
          </a:xfrm>
        </p:grpSpPr>
        <p:pic>
          <p:nvPicPr>
            <p:cNvPr id="17" name="Picture 2">
              <a:extLst>
                <a:ext uri="{FF2B5EF4-FFF2-40B4-BE49-F238E27FC236}">
                  <a16:creationId xmlns:a16="http://schemas.microsoft.com/office/drawing/2014/main" id="{6B4E4FEF-207D-4554-B085-380D9332D2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963" y="3507234"/>
              <a:ext cx="2316332" cy="1596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10">
              <a:extLst>
                <a:ext uri="{FF2B5EF4-FFF2-40B4-BE49-F238E27FC236}">
                  <a16:creationId xmlns:a16="http://schemas.microsoft.com/office/drawing/2014/main" id="{D966818A-EE30-4CCA-B7C4-9B60733C7B6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923" r="8592"/>
            <a:stretch/>
          </p:blipFill>
          <p:spPr bwMode="auto">
            <a:xfrm>
              <a:off x="403963" y="3507233"/>
              <a:ext cx="656047" cy="6630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47924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texto 2"/>
          <p:cNvSpPr txBox="1">
            <a:spLocks/>
          </p:cNvSpPr>
          <p:nvPr/>
        </p:nvSpPr>
        <p:spPr>
          <a:xfrm>
            <a:off x="15248" y="3286"/>
            <a:ext cx="5486967" cy="761418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defTabSz="914231" fontAlgn="auto">
              <a:spcBef>
                <a:spcPts val="2399"/>
              </a:spcBef>
              <a:spcAft>
                <a:spcPts val="0"/>
              </a:spcAft>
              <a:buSzPct val="90000"/>
              <a:defRPr/>
            </a:pPr>
            <a:r>
              <a:rPr lang="es-ES" sz="2800" b="1" i="1" dirty="0">
                <a:solidFill>
                  <a:srgbClr val="033E7E"/>
                </a:solidFill>
                <a:latin typeface="Lato" pitchFamily="34" charset="0"/>
                <a:ea typeface="+mn-ea"/>
                <a:cs typeface="Univers 45 Light"/>
              </a:rPr>
              <a:t>INDEFINICIÓN TECNOLÓGICA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702" y="117175"/>
            <a:ext cx="1386327" cy="576000"/>
          </a:xfrm>
          <a:prstGeom prst="rect">
            <a:avLst/>
          </a:prstGeom>
        </p:spPr>
      </p:pic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9840D056-A7C6-4CCD-9F15-F00E1849165D}"/>
              </a:ext>
            </a:extLst>
          </p:cNvPr>
          <p:cNvSpPr txBox="1">
            <a:spLocks/>
          </p:cNvSpPr>
          <p:nvPr/>
        </p:nvSpPr>
        <p:spPr>
          <a:xfrm>
            <a:off x="1555401" y="2074073"/>
            <a:ext cx="7517293" cy="4194549"/>
          </a:xfrm>
          <a:prstGeom prst="rect">
            <a:avLst/>
          </a:prstGeom>
        </p:spPr>
        <p:txBody>
          <a:bodyPr/>
          <a:lstStyle>
            <a:lvl1pPr marL="457116" indent="-457116" algn="l" defTabSz="914231" rtl="0" eaLnBrk="1" latinLnBrk="0" hangingPunct="1">
              <a:spcBef>
                <a:spcPts val="2399"/>
              </a:spcBef>
              <a:buSzPct val="90000"/>
              <a:buFont typeface="Wingdings" pitchFamily="2" charset="2"/>
              <a:buChar char="v"/>
              <a:defRPr sz="2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Univers 55"/>
                <a:ea typeface="+mn-ea"/>
                <a:cs typeface="Univers 55"/>
              </a:defRPr>
            </a:lvl1pPr>
            <a:lvl2pPr marL="914231" indent="-457116" algn="l" defTabSz="914231" rtl="0" eaLnBrk="1" latinLnBrk="0" hangingPunct="1">
              <a:spcBef>
                <a:spcPts val="1200"/>
              </a:spcBef>
              <a:buClr>
                <a:schemeClr val="bg1">
                  <a:lumMod val="65000"/>
                </a:schemeClr>
              </a:buClr>
              <a:buSzPct val="90000"/>
              <a:buFont typeface="Wingdings" pitchFamily="2" charset="2"/>
              <a:buChar char="v"/>
              <a:defRPr sz="2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Univers 55"/>
                <a:ea typeface="+mn-ea"/>
                <a:cs typeface="Univers 55"/>
              </a:defRPr>
            </a:lvl2pPr>
            <a:lvl3pPr marL="1263417" indent="-349186" algn="l" defTabSz="914231" rtl="0" eaLnBrk="1" latinLnBrk="0" hangingPunct="1">
              <a:spcBef>
                <a:spcPts val="1200"/>
              </a:spcBef>
              <a:buSzPct val="90000"/>
              <a:buFont typeface="Wingdings" pitchFamily="2" charset="2"/>
              <a:buChar char="v"/>
              <a:defRPr sz="20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Univers 55"/>
                <a:ea typeface="+mn-ea"/>
                <a:cs typeface="Univers 55"/>
              </a:defRPr>
            </a:lvl3pPr>
            <a:lvl4pPr marL="1599906" indent="-336489" algn="l" defTabSz="914231" rtl="0" eaLnBrk="1" latinLnBrk="0" hangingPunct="1">
              <a:spcBef>
                <a:spcPts val="1200"/>
              </a:spcBef>
              <a:buClr>
                <a:schemeClr val="bg1">
                  <a:lumMod val="65000"/>
                </a:schemeClr>
              </a:buClr>
              <a:buSzPct val="90000"/>
              <a:buFont typeface="Wingdings" pitchFamily="2" charset="2"/>
              <a:buChar char="v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Univers 55"/>
                <a:ea typeface="+mn-ea"/>
                <a:cs typeface="Univers 55"/>
              </a:defRPr>
            </a:lvl4pPr>
            <a:lvl5pPr marL="1945917" indent="-346011" algn="l" defTabSz="914231" rtl="0" eaLnBrk="1" latinLnBrk="0" hangingPunct="1">
              <a:spcBef>
                <a:spcPts val="1200"/>
              </a:spcBef>
              <a:buSzPct val="90000"/>
              <a:buFont typeface="Wingdings" pitchFamily="2" charset="2"/>
              <a:buChar char="v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Univers 55"/>
                <a:ea typeface="+mn-ea"/>
                <a:cs typeface="Univers 55"/>
              </a:defRPr>
            </a:lvl5pPr>
            <a:lvl6pPr marL="2290341" indent="-344424" algn="l" defTabSz="914231" rtl="0" eaLnBrk="1" latinLnBrk="0" hangingPunct="1">
              <a:spcBef>
                <a:spcPct val="20000"/>
              </a:spcBef>
              <a:buClr>
                <a:schemeClr val="bg1">
                  <a:lumMod val="65000"/>
                </a:schemeClr>
              </a:buClr>
              <a:buSzPct val="90000"/>
              <a:buFont typeface="Wingdings" pitchFamily="2" charset="2"/>
              <a:buChar char="v"/>
              <a:defRPr lang="en-US" sz="18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625242" indent="-344424" algn="l" defTabSz="914231" rtl="0" eaLnBrk="1" latinLnBrk="0" hangingPunct="1">
              <a:spcBef>
                <a:spcPct val="20000"/>
              </a:spcBef>
              <a:buSzPct val="90000"/>
              <a:buFont typeface="Wingdings" pitchFamily="2" charset="2"/>
              <a:buChar char="v"/>
              <a:defRPr lang="en-US" sz="18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969666" indent="-344424" algn="l" defTabSz="914231" rtl="0" eaLnBrk="1" latinLnBrk="0" hangingPunct="1">
              <a:spcBef>
                <a:spcPct val="20000"/>
              </a:spcBef>
              <a:buClr>
                <a:schemeClr val="bg1">
                  <a:lumMod val="65000"/>
                </a:schemeClr>
              </a:buClr>
              <a:buSzPct val="90000"/>
              <a:buFont typeface="Wingdings" pitchFamily="2" charset="2"/>
              <a:buChar char="v"/>
              <a:defRPr lang="en-US" sz="18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312503" indent="-344424" algn="l" defTabSz="914231" rtl="0" eaLnBrk="1" latinLnBrk="0" hangingPunct="1">
              <a:spcBef>
                <a:spcPct val="20000"/>
              </a:spcBef>
              <a:buSzPct val="90000"/>
              <a:buFont typeface="Wingdings" pitchFamily="2" charset="2"/>
              <a:buChar char="v"/>
              <a:defRPr lang="en-US" sz="18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endParaRPr lang="es-ES"/>
          </a:p>
          <a:p>
            <a:pPr fontAlgn="auto">
              <a:spcAft>
                <a:spcPts val="0"/>
              </a:spcAft>
            </a:pPr>
            <a:endParaRPr lang="es-ES"/>
          </a:p>
          <a:p>
            <a:pPr fontAlgn="auto">
              <a:spcAft>
                <a:spcPts val="0"/>
              </a:spcAft>
            </a:pPr>
            <a:endParaRPr lang="es-ES" dirty="0"/>
          </a:p>
        </p:txBody>
      </p:sp>
      <p:grpSp>
        <p:nvGrpSpPr>
          <p:cNvPr id="20" name="30 Grupo">
            <a:extLst>
              <a:ext uri="{FF2B5EF4-FFF2-40B4-BE49-F238E27FC236}">
                <a16:creationId xmlns:a16="http://schemas.microsoft.com/office/drawing/2014/main" id="{DAF74F9C-DF77-42FD-9214-DA834168F093}"/>
              </a:ext>
            </a:extLst>
          </p:cNvPr>
          <p:cNvGrpSpPr/>
          <p:nvPr/>
        </p:nvGrpSpPr>
        <p:grpSpPr>
          <a:xfrm>
            <a:off x="285538" y="1662858"/>
            <a:ext cx="4829609" cy="4518725"/>
            <a:chOff x="611560" y="1484784"/>
            <a:chExt cx="8556310" cy="5040560"/>
          </a:xfrm>
        </p:grpSpPr>
        <p:pic>
          <p:nvPicPr>
            <p:cNvPr id="21" name="10 Imagen" descr="davinci.jpg">
              <a:extLst>
                <a:ext uri="{FF2B5EF4-FFF2-40B4-BE49-F238E27FC236}">
                  <a16:creationId xmlns:a16="http://schemas.microsoft.com/office/drawing/2014/main" id="{6AB135F0-F6B8-4BD1-90D7-EB454ACE24E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/>
            <a:srcRect b="46927"/>
            <a:stretch>
              <a:fillRect/>
            </a:stretch>
          </p:blipFill>
          <p:spPr>
            <a:xfrm>
              <a:off x="827584" y="1628801"/>
              <a:ext cx="1224136" cy="929204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22" name="13 Imagen" descr="250px-Giffard1852.jpg">
              <a:extLst>
                <a:ext uri="{FF2B5EF4-FFF2-40B4-BE49-F238E27FC236}">
                  <a16:creationId xmlns:a16="http://schemas.microsoft.com/office/drawing/2014/main" id="{E47236C3-F805-42E8-A005-CCEFF548869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27584" y="2852936"/>
              <a:ext cx="1296144" cy="912485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23" name="14 Imagen" descr="170px-First_Zeppelin_ascent.jpg">
              <a:extLst>
                <a:ext uri="{FF2B5EF4-FFF2-40B4-BE49-F238E27FC236}">
                  <a16:creationId xmlns:a16="http://schemas.microsoft.com/office/drawing/2014/main" id="{7D3DC660-7E2E-4754-90A7-FE97BEFE032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339752" y="2852936"/>
              <a:ext cx="1242867" cy="936104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24" name="15 Imagen" descr="2.jpg">
              <a:extLst>
                <a:ext uri="{FF2B5EF4-FFF2-40B4-BE49-F238E27FC236}">
                  <a16:creationId xmlns:a16="http://schemas.microsoft.com/office/drawing/2014/main" id="{86F49520-3619-4B9B-8A5F-790F76DBD4B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339752" y="1628800"/>
              <a:ext cx="1168515" cy="936104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25" name="16 Imagen" descr="300px-Maxim.gif">
              <a:extLst>
                <a:ext uri="{FF2B5EF4-FFF2-40B4-BE49-F238E27FC236}">
                  <a16:creationId xmlns:a16="http://schemas.microsoft.com/office/drawing/2014/main" id="{956EDE72-0AFB-4CE9-8337-781F61E627F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3779911" y="1628800"/>
              <a:ext cx="2242087" cy="917252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26" name="17 Imagen" descr="180px-Sopwith_F-1_Camel.jpg">
              <a:extLst>
                <a:ext uri="{FF2B5EF4-FFF2-40B4-BE49-F238E27FC236}">
                  <a16:creationId xmlns:a16="http://schemas.microsoft.com/office/drawing/2014/main" id="{3D77BFD4-99EE-49F7-9C18-D2016B0BA03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3923928" y="2852936"/>
              <a:ext cx="1647056" cy="936104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27" name="19 Imagen" descr="200px-Malaysia_b747_arp_750pix.jpg">
              <a:extLst>
                <a:ext uri="{FF2B5EF4-FFF2-40B4-BE49-F238E27FC236}">
                  <a16:creationId xmlns:a16="http://schemas.microsoft.com/office/drawing/2014/main" id="{B2D69F78-AE61-427E-9D07-652371CAF0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7327127" y="2192231"/>
              <a:ext cx="1840743" cy="1040016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28" name="20 Pentágono">
              <a:extLst>
                <a:ext uri="{FF2B5EF4-FFF2-40B4-BE49-F238E27FC236}">
                  <a16:creationId xmlns:a16="http://schemas.microsoft.com/office/drawing/2014/main" id="{D850F614-4319-41ED-A8A3-F2E6C5A343FF}"/>
                </a:ext>
              </a:extLst>
            </p:cNvPr>
            <p:cNvSpPr/>
            <p:nvPr/>
          </p:nvSpPr>
          <p:spPr>
            <a:xfrm>
              <a:off x="611560" y="1484784"/>
              <a:ext cx="6336704" cy="2448272"/>
            </a:xfrm>
            <a:prstGeom prst="homePlate">
              <a:avLst>
                <a:gd name="adj" fmla="val 16281"/>
              </a:avLst>
            </a:prstGeom>
            <a:noFill/>
            <a:ln w="38100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29" name="21 Imagen" descr="mota-del-cuervo-9.jpg">
              <a:extLst>
                <a:ext uri="{FF2B5EF4-FFF2-40B4-BE49-F238E27FC236}">
                  <a16:creationId xmlns:a16="http://schemas.microsoft.com/office/drawing/2014/main" id="{B465C5A4-10BF-46DF-B8E3-35BA562D2D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/>
            <a:srcRect l="7620" t="4445"/>
            <a:stretch>
              <a:fillRect/>
            </a:stretch>
          </p:blipFill>
          <p:spPr>
            <a:xfrm>
              <a:off x="827584" y="4221088"/>
              <a:ext cx="1290015" cy="1000764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30" name="22 Imagen" descr="imagesCAC4QON2.jpg">
              <a:extLst>
                <a:ext uri="{FF2B5EF4-FFF2-40B4-BE49-F238E27FC236}">
                  <a16:creationId xmlns:a16="http://schemas.microsoft.com/office/drawing/2014/main" id="{248B275C-243D-48F7-9F96-B7CD514BE8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2411760" y="4221088"/>
              <a:ext cx="1224136" cy="100965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31" name="23 Imagen" descr="molino1.jpg">
              <a:extLst>
                <a:ext uri="{FF2B5EF4-FFF2-40B4-BE49-F238E27FC236}">
                  <a16:creationId xmlns:a16="http://schemas.microsoft.com/office/drawing/2014/main" id="{15ACFE77-EB78-4795-BB02-720B5E006D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/>
            <a:srcRect l="49160"/>
            <a:stretch>
              <a:fillRect/>
            </a:stretch>
          </p:blipFill>
          <p:spPr>
            <a:xfrm>
              <a:off x="971600" y="5373216"/>
              <a:ext cx="774827" cy="1008112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32" name="24 Imagen" descr="untitled.bmp">
              <a:extLst>
                <a:ext uri="{FF2B5EF4-FFF2-40B4-BE49-F238E27FC236}">
                  <a16:creationId xmlns:a16="http://schemas.microsoft.com/office/drawing/2014/main" id="{1D31ACEA-EB4B-4259-85C9-AF9E332FE4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2123728" y="5469053"/>
              <a:ext cx="1597556" cy="912276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33" name="25 Imagen" descr="lg_aerocam2.gif">
              <a:extLst>
                <a:ext uri="{FF2B5EF4-FFF2-40B4-BE49-F238E27FC236}">
                  <a16:creationId xmlns:a16="http://schemas.microsoft.com/office/drawing/2014/main" id="{21ADB03A-1DDE-439A-B9AF-2830489BCC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3851920" y="4221088"/>
              <a:ext cx="1653247" cy="1045666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34" name="26 Imagen" descr="imagesCAMUYU1O.jpg">
              <a:extLst>
                <a:ext uri="{FF2B5EF4-FFF2-40B4-BE49-F238E27FC236}">
                  <a16:creationId xmlns:a16="http://schemas.microsoft.com/office/drawing/2014/main" id="{E0D7DACA-47B8-400A-924E-FEB301C860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/>
            <a:srcRect l="71234" t="5139" r="1899" b="4935"/>
            <a:stretch>
              <a:fillRect/>
            </a:stretch>
          </p:blipFill>
          <p:spPr>
            <a:xfrm>
              <a:off x="4139952" y="5373216"/>
              <a:ext cx="803293" cy="1008112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35" name="28 Imagen" descr="aerogenerador-de-media-potencia-369046.jpg">
              <a:extLst>
                <a:ext uri="{FF2B5EF4-FFF2-40B4-BE49-F238E27FC236}">
                  <a16:creationId xmlns:a16="http://schemas.microsoft.com/office/drawing/2014/main" id="{E95CC85A-9B1A-4839-8DF4-39D3419798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/>
            <a:stretch>
              <a:fillRect/>
            </a:stretch>
          </p:blipFill>
          <p:spPr>
            <a:xfrm flipH="1">
              <a:off x="7026793" y="4365104"/>
              <a:ext cx="1883030" cy="1772816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36" name="29 Pentágono">
              <a:extLst>
                <a:ext uri="{FF2B5EF4-FFF2-40B4-BE49-F238E27FC236}">
                  <a16:creationId xmlns:a16="http://schemas.microsoft.com/office/drawing/2014/main" id="{1D6F91D7-D70A-4B53-9DFC-B697BDF5778D}"/>
                </a:ext>
              </a:extLst>
            </p:cNvPr>
            <p:cNvSpPr/>
            <p:nvPr/>
          </p:nvSpPr>
          <p:spPr>
            <a:xfrm>
              <a:off x="611560" y="4077072"/>
              <a:ext cx="6336704" cy="2448272"/>
            </a:xfrm>
            <a:prstGeom prst="homePlate">
              <a:avLst>
                <a:gd name="adj" fmla="val 15678"/>
              </a:avLst>
            </a:prstGeom>
            <a:noFill/>
            <a:ln w="38100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37" name="31 Grupo">
            <a:extLst>
              <a:ext uri="{FF2B5EF4-FFF2-40B4-BE49-F238E27FC236}">
                <a16:creationId xmlns:a16="http://schemas.microsoft.com/office/drawing/2014/main" id="{D09BB600-A5A2-412A-9311-23B9848B8949}"/>
              </a:ext>
            </a:extLst>
          </p:cNvPr>
          <p:cNvGrpSpPr/>
          <p:nvPr/>
        </p:nvGrpSpPr>
        <p:grpSpPr>
          <a:xfrm>
            <a:off x="5158660" y="1655748"/>
            <a:ext cx="3807207" cy="4518725"/>
            <a:chOff x="899592" y="1340768"/>
            <a:chExt cx="7696645" cy="5184576"/>
          </a:xfrm>
        </p:grpSpPr>
        <p:pic>
          <p:nvPicPr>
            <p:cNvPr id="38" name="Picture 18" descr="Otras">
              <a:extLst>
                <a:ext uri="{FF2B5EF4-FFF2-40B4-BE49-F238E27FC236}">
                  <a16:creationId xmlns:a16="http://schemas.microsoft.com/office/drawing/2014/main" id="{1CA6FFD6-6E05-41B9-B212-A1A65D706AE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3563888" y="4431177"/>
              <a:ext cx="766762" cy="500062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39" name="Picture 19" descr="Verdant">
              <a:extLst>
                <a:ext uri="{FF2B5EF4-FFF2-40B4-BE49-F238E27FC236}">
                  <a16:creationId xmlns:a16="http://schemas.microsoft.com/office/drawing/2014/main" id="{A3C1A220-DA90-497D-82E5-7274E19927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/>
            <a:srcRect/>
            <a:stretch>
              <a:fillRect/>
            </a:stretch>
          </p:blipFill>
          <p:spPr bwMode="auto">
            <a:xfrm>
              <a:off x="1115616" y="4503185"/>
              <a:ext cx="998537" cy="69850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40" name="Picture 20" descr="Rotech">
              <a:extLst>
                <a:ext uri="{FF2B5EF4-FFF2-40B4-BE49-F238E27FC236}">
                  <a16:creationId xmlns:a16="http://schemas.microsoft.com/office/drawing/2014/main" id="{92FA491D-D31E-409D-B477-5068621804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3491880" y="5151257"/>
              <a:ext cx="960437" cy="62865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41" name="Picture 21" descr="EMEC">
              <a:extLst>
                <a:ext uri="{FF2B5EF4-FFF2-40B4-BE49-F238E27FC236}">
                  <a16:creationId xmlns:a16="http://schemas.microsoft.com/office/drawing/2014/main" id="{458AF166-DF5E-4DD2-8702-A483A4CC86F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4680893" y="4359169"/>
              <a:ext cx="904875" cy="1204913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42" name="Picture 22" descr="seagen">
              <a:extLst>
                <a:ext uri="{FF2B5EF4-FFF2-40B4-BE49-F238E27FC236}">
                  <a16:creationId xmlns:a16="http://schemas.microsoft.com/office/drawing/2014/main" id="{078F9FB0-F0FC-49F6-97CA-1ABD7F028A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1115616" y="5223265"/>
              <a:ext cx="882650" cy="769937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43" name="Picture 23" descr="tide-farm">
              <a:extLst>
                <a:ext uri="{FF2B5EF4-FFF2-40B4-BE49-F238E27FC236}">
                  <a16:creationId xmlns:a16="http://schemas.microsoft.com/office/drawing/2014/main" id="{63DBCB47-A861-4B4C-A807-1DE0B44D0F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/>
            <a:srcRect/>
            <a:stretch>
              <a:fillRect/>
            </a:stretch>
          </p:blipFill>
          <p:spPr bwMode="auto">
            <a:xfrm>
              <a:off x="2339752" y="5652684"/>
              <a:ext cx="882650" cy="695325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44" name="Picture 19">
              <a:extLst>
                <a:ext uri="{FF2B5EF4-FFF2-40B4-BE49-F238E27FC236}">
                  <a16:creationId xmlns:a16="http://schemas.microsoft.com/office/drawing/2014/main" id="{6B806441-A732-4BF7-9224-C1BDF521CE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4644008" y="5733256"/>
              <a:ext cx="1133475" cy="657225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45" name="Picture 22">
              <a:extLst>
                <a:ext uri="{FF2B5EF4-FFF2-40B4-BE49-F238E27FC236}">
                  <a16:creationId xmlns:a16="http://schemas.microsoft.com/office/drawing/2014/main" id="{56314AAB-1CBF-4E95-A694-0B362DD09E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/>
            <a:srcRect/>
            <a:stretch>
              <a:fillRect/>
            </a:stretch>
          </p:blipFill>
          <p:spPr bwMode="auto">
            <a:xfrm>
              <a:off x="2411760" y="4791217"/>
              <a:ext cx="901700" cy="674687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grpSp>
          <p:nvGrpSpPr>
            <p:cNvPr id="46" name="Group 41">
              <a:extLst>
                <a:ext uri="{FF2B5EF4-FFF2-40B4-BE49-F238E27FC236}">
                  <a16:creationId xmlns:a16="http://schemas.microsoft.com/office/drawing/2014/main" id="{FBF83178-F26F-4CBB-ABDF-0B6E45F2449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59632" y="1484784"/>
              <a:ext cx="4478338" cy="3035015"/>
              <a:chOff x="317" y="210"/>
              <a:chExt cx="2821" cy="2658"/>
            </a:xfrm>
          </p:grpSpPr>
          <p:pic>
            <p:nvPicPr>
              <p:cNvPr id="49" name="Picture 29" descr="WaveDragon installed-NissumBredning_300dpi">
                <a:extLst>
                  <a:ext uri="{FF2B5EF4-FFF2-40B4-BE49-F238E27FC236}">
                    <a16:creationId xmlns:a16="http://schemas.microsoft.com/office/drawing/2014/main" id="{E86943D6-B374-4BD0-A4C4-CEF934EA29B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6" cstate="print"/>
              <a:srcRect l="4608" r="37581"/>
              <a:stretch>
                <a:fillRect/>
              </a:stretch>
            </p:blipFill>
            <p:spPr bwMode="auto">
              <a:xfrm>
                <a:off x="385" y="1366"/>
                <a:ext cx="1490" cy="443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88900" cap="sq">
                <a:solidFill>
                  <a:srgbClr val="FFFFFF"/>
                </a:solidFill>
                <a:miter lim="800000"/>
              </a:ln>
              <a:effectLst>
                <a:outerShdw blurRad="55000" dist="18000" dir="54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</p:pic>
          <p:pic>
            <p:nvPicPr>
              <p:cNvPr id="50" name="Picture 30" descr="6_powerbuoy_deployed%20NJ%20buoy">
                <a:extLst>
                  <a:ext uri="{FF2B5EF4-FFF2-40B4-BE49-F238E27FC236}">
                    <a16:creationId xmlns:a16="http://schemas.microsoft.com/office/drawing/2014/main" id="{71B0AEEA-F1D3-453F-9193-CAAB4F83506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7" cstate="print"/>
              <a:srcRect l="14729" r="18404"/>
              <a:stretch>
                <a:fillRect/>
              </a:stretch>
            </p:blipFill>
            <p:spPr bwMode="auto">
              <a:xfrm>
                <a:off x="2766" y="2165"/>
                <a:ext cx="339" cy="414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88900" cap="sq">
                <a:solidFill>
                  <a:srgbClr val="FFFFFF"/>
                </a:solidFill>
                <a:miter lim="800000"/>
              </a:ln>
              <a:effectLst>
                <a:outerShdw blurRad="55000" dist="18000" dir="54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</p:pic>
          <p:pic>
            <p:nvPicPr>
              <p:cNvPr id="51" name="Picture 33" descr="about-3d-with-diver-large">
                <a:extLst>
                  <a:ext uri="{FF2B5EF4-FFF2-40B4-BE49-F238E27FC236}">
                    <a16:creationId xmlns:a16="http://schemas.microsoft.com/office/drawing/2014/main" id="{FCB98E7B-07F4-4572-8D00-1D5E99FB1E5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8" cstate="print"/>
              <a:srcRect l="13667" r="29411"/>
              <a:stretch>
                <a:fillRect/>
              </a:stretch>
            </p:blipFill>
            <p:spPr bwMode="auto">
              <a:xfrm>
                <a:off x="317" y="2024"/>
                <a:ext cx="487" cy="413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88900" cap="sq">
                <a:solidFill>
                  <a:srgbClr val="FFFFFF"/>
                </a:solidFill>
                <a:miter lim="800000"/>
              </a:ln>
              <a:effectLst>
                <a:outerShdw blurRad="55000" dist="18000" dir="54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</p:pic>
          <p:pic>
            <p:nvPicPr>
              <p:cNvPr id="52" name="Picture 39" descr="SSG">
                <a:extLst>
                  <a:ext uri="{FF2B5EF4-FFF2-40B4-BE49-F238E27FC236}">
                    <a16:creationId xmlns:a16="http://schemas.microsoft.com/office/drawing/2014/main" id="{866CCF08-1D7B-4AEE-BB2F-9B396EDB459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9" cstate="print"/>
              <a:srcRect l="4346"/>
              <a:stretch>
                <a:fillRect/>
              </a:stretch>
            </p:blipFill>
            <p:spPr bwMode="auto">
              <a:xfrm>
                <a:off x="1927" y="935"/>
                <a:ext cx="1084" cy="449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88900" cap="sq">
                <a:solidFill>
                  <a:srgbClr val="FFFFFF"/>
                </a:solidFill>
                <a:miter lim="800000"/>
              </a:ln>
              <a:effectLst>
                <a:outerShdw blurRad="55000" dist="18000" dir="54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</p:pic>
          <p:pic>
            <p:nvPicPr>
              <p:cNvPr id="53" name="Picture 40" descr="Pico">
                <a:extLst>
                  <a:ext uri="{FF2B5EF4-FFF2-40B4-BE49-F238E27FC236}">
                    <a16:creationId xmlns:a16="http://schemas.microsoft.com/office/drawing/2014/main" id="{AE2F5D61-E0BF-4835-8772-A8DE556EA6F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0" cstate="print"/>
              <a:srcRect l="16684" r="19098"/>
              <a:stretch>
                <a:fillRect/>
              </a:stretch>
            </p:blipFill>
            <p:spPr bwMode="auto">
              <a:xfrm>
                <a:off x="431" y="867"/>
                <a:ext cx="457" cy="421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88900" cap="sq">
                <a:solidFill>
                  <a:srgbClr val="FFFFFF"/>
                </a:solidFill>
                <a:miter lim="800000"/>
              </a:ln>
              <a:effectLst>
                <a:outerShdw blurRad="55000" dist="18000" dir="54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</p:pic>
          <p:pic>
            <p:nvPicPr>
              <p:cNvPr id="54" name="Picture 43" descr="Waveroller">
                <a:extLst>
                  <a:ext uri="{FF2B5EF4-FFF2-40B4-BE49-F238E27FC236}">
                    <a16:creationId xmlns:a16="http://schemas.microsoft.com/office/drawing/2014/main" id="{53738FB1-6AC7-494A-ABC2-97B23A233E8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1" cstate="print"/>
              <a:srcRect r="11476"/>
              <a:stretch>
                <a:fillRect/>
              </a:stretch>
            </p:blipFill>
            <p:spPr bwMode="auto">
              <a:xfrm>
                <a:off x="1088" y="709"/>
                <a:ext cx="516" cy="414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88900" cap="sq">
                <a:solidFill>
                  <a:srgbClr val="FFFFFF"/>
                </a:solidFill>
                <a:miter lim="800000"/>
              </a:ln>
              <a:effectLst>
                <a:outerShdw blurRad="55000" dist="18000" dir="54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</p:pic>
          <p:pic>
            <p:nvPicPr>
              <p:cNvPr id="55" name="Picture 46" descr="WaveAmplifier">
                <a:extLst>
                  <a:ext uri="{FF2B5EF4-FFF2-40B4-BE49-F238E27FC236}">
                    <a16:creationId xmlns:a16="http://schemas.microsoft.com/office/drawing/2014/main" id="{B5705387-57A4-47A1-953B-43B49542211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2" cstate="print"/>
              <a:srcRect l="35989" t="9062" r="9012" b="27135"/>
              <a:stretch>
                <a:fillRect/>
              </a:stretch>
            </p:blipFill>
            <p:spPr bwMode="auto">
              <a:xfrm>
                <a:off x="952" y="210"/>
                <a:ext cx="609" cy="417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88900" cap="sq">
                <a:solidFill>
                  <a:srgbClr val="FFFFFF"/>
                </a:solidFill>
                <a:miter lim="800000"/>
              </a:ln>
              <a:effectLst>
                <a:outerShdw blurRad="55000" dist="18000" dir="54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</p:pic>
          <p:pic>
            <p:nvPicPr>
              <p:cNvPr id="56" name="Picture 50" descr="GB2%20cropped">
                <a:extLst>
                  <a:ext uri="{FF2B5EF4-FFF2-40B4-BE49-F238E27FC236}">
                    <a16:creationId xmlns:a16="http://schemas.microsoft.com/office/drawing/2014/main" id="{1BD78C5E-D873-4E28-8946-BC2F998AAE2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3" cstate="print"/>
              <a:srcRect l="31729" t="16766" r="32164" b="6377"/>
              <a:stretch>
                <a:fillRect/>
              </a:stretch>
            </p:blipFill>
            <p:spPr bwMode="auto">
              <a:xfrm>
                <a:off x="952" y="1933"/>
                <a:ext cx="373" cy="414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88900" cap="sq">
                <a:solidFill>
                  <a:srgbClr val="FFFFFF"/>
                </a:solidFill>
                <a:miter lim="800000"/>
              </a:ln>
              <a:effectLst>
                <a:outerShdw blurRad="55000" dist="18000" dir="54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</p:pic>
          <p:pic>
            <p:nvPicPr>
              <p:cNvPr id="57" name="Picture 58" descr="Pelamis">
                <a:extLst>
                  <a:ext uri="{FF2B5EF4-FFF2-40B4-BE49-F238E27FC236}">
                    <a16:creationId xmlns:a16="http://schemas.microsoft.com/office/drawing/2014/main" id="{71CCEB42-71F1-448E-8BBC-D01D24DB9CA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4" cstate="print"/>
              <a:srcRect r="19698"/>
              <a:stretch>
                <a:fillRect/>
              </a:stretch>
            </p:blipFill>
            <p:spPr bwMode="auto">
              <a:xfrm>
                <a:off x="1066" y="2455"/>
                <a:ext cx="554" cy="413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88900" cap="sq">
                <a:solidFill>
                  <a:srgbClr val="FFFFFF"/>
                </a:solidFill>
                <a:miter lim="800000"/>
              </a:ln>
              <a:effectLst>
                <a:outerShdw blurRad="55000" dist="18000" dir="54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</p:pic>
          <p:pic>
            <p:nvPicPr>
              <p:cNvPr id="58" name="Picture 60">
                <a:extLst>
                  <a:ext uri="{FF2B5EF4-FFF2-40B4-BE49-F238E27FC236}">
                    <a16:creationId xmlns:a16="http://schemas.microsoft.com/office/drawing/2014/main" id="{37D9CD66-5A77-4EE0-A2B0-6B71C1F36AC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5" cstate="print"/>
              <a:srcRect l="13435" r="35649" b="3168"/>
              <a:stretch>
                <a:fillRect/>
              </a:stretch>
            </p:blipFill>
            <p:spPr bwMode="auto">
              <a:xfrm>
                <a:off x="317" y="232"/>
                <a:ext cx="402" cy="414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88900" cap="sq">
                <a:solidFill>
                  <a:srgbClr val="FFFFFF"/>
                </a:solidFill>
                <a:miter lim="800000"/>
              </a:ln>
              <a:effectLst>
                <a:outerShdw blurRad="55000" dist="18000" dir="54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</p:pic>
          <p:pic>
            <p:nvPicPr>
              <p:cNvPr id="59" name="Picture 61" descr="Buldra ved Jomfruland 2">
                <a:extLst>
                  <a:ext uri="{FF2B5EF4-FFF2-40B4-BE49-F238E27FC236}">
                    <a16:creationId xmlns:a16="http://schemas.microsoft.com/office/drawing/2014/main" id="{71C201B7-D53F-40EE-94EF-CCFAC6D022D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6" cstate="print"/>
              <a:srcRect l="4562" t="3059" r="17499"/>
              <a:stretch>
                <a:fillRect/>
              </a:stretch>
            </p:blipFill>
            <p:spPr bwMode="auto">
              <a:xfrm>
                <a:off x="1497" y="1979"/>
                <a:ext cx="558" cy="410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88900" cap="sq">
                <a:solidFill>
                  <a:srgbClr val="FFFFFF"/>
                </a:solidFill>
                <a:miter lim="800000"/>
              </a:ln>
              <a:effectLst>
                <a:outerShdw blurRad="55000" dist="18000" dir="54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</p:pic>
          <p:pic>
            <p:nvPicPr>
              <p:cNvPr id="60" name="Picture 65" descr="Foto_IEA-OES_2008">
                <a:extLst>
                  <a:ext uri="{FF2B5EF4-FFF2-40B4-BE49-F238E27FC236}">
                    <a16:creationId xmlns:a16="http://schemas.microsoft.com/office/drawing/2014/main" id="{3261BAF8-923F-4DDD-8167-28ACF85AE38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7" cstate="print"/>
              <a:srcRect l="13911" t="8612" r="10524" b="14412"/>
              <a:stretch>
                <a:fillRect/>
              </a:stretch>
            </p:blipFill>
            <p:spPr bwMode="auto">
              <a:xfrm>
                <a:off x="2494" y="346"/>
                <a:ext cx="644" cy="41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88900" cap="sq">
                <a:solidFill>
                  <a:srgbClr val="FFFFFF"/>
                </a:solidFill>
                <a:miter lim="800000"/>
              </a:ln>
              <a:effectLst>
                <a:outerShdw blurRad="55000" dist="18000" dir="54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</p:pic>
          <p:pic>
            <p:nvPicPr>
              <p:cNvPr id="61" name="Picture 67" descr="wavestar">
                <a:extLst>
                  <a:ext uri="{FF2B5EF4-FFF2-40B4-BE49-F238E27FC236}">
                    <a16:creationId xmlns:a16="http://schemas.microsoft.com/office/drawing/2014/main" id="{D54CB1CE-11F5-418F-B3C2-305FC89FA0D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8" cstate="print"/>
              <a:srcRect l="15785" r="5551" b="3035"/>
              <a:stretch>
                <a:fillRect/>
              </a:stretch>
            </p:blipFill>
            <p:spPr bwMode="auto">
              <a:xfrm>
                <a:off x="2494" y="1534"/>
                <a:ext cx="643" cy="413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88900" cap="sq">
                <a:solidFill>
                  <a:srgbClr val="FFFFFF"/>
                </a:solidFill>
                <a:miter lim="800000"/>
              </a:ln>
              <a:effectLst>
                <a:outerShdw blurRad="55000" dist="18000" dir="54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</p:pic>
          <p:pic>
            <p:nvPicPr>
              <p:cNvPr id="62" name="Picture 69" descr="Ocean Energy Buoy">
                <a:extLst>
                  <a:ext uri="{FF2B5EF4-FFF2-40B4-BE49-F238E27FC236}">
                    <a16:creationId xmlns:a16="http://schemas.microsoft.com/office/drawing/2014/main" id="{E3C7CB6A-CDF2-4953-ABA8-3B0F2B07B72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9" cstate="print"/>
              <a:srcRect l="19299" r="14191"/>
              <a:stretch>
                <a:fillRect/>
              </a:stretch>
            </p:blipFill>
            <p:spPr bwMode="auto">
              <a:xfrm>
                <a:off x="1769" y="278"/>
                <a:ext cx="525" cy="416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88900" cap="sq">
                <a:solidFill>
                  <a:srgbClr val="FFFFFF"/>
                </a:solidFill>
                <a:miter lim="800000"/>
              </a:ln>
              <a:effectLst>
                <a:outerShdw blurRad="55000" dist="18000" dir="54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</p:pic>
          <p:pic>
            <p:nvPicPr>
              <p:cNvPr id="63" name="Picture 72" descr="untitled">
                <a:extLst>
                  <a:ext uri="{FF2B5EF4-FFF2-40B4-BE49-F238E27FC236}">
                    <a16:creationId xmlns:a16="http://schemas.microsoft.com/office/drawing/2014/main" id="{3F05C061-A4F1-4440-A512-B4BB389E5F2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0" cstate="print"/>
              <a:srcRect l="30634" r="24486"/>
              <a:stretch>
                <a:fillRect/>
              </a:stretch>
            </p:blipFill>
            <p:spPr bwMode="auto">
              <a:xfrm>
                <a:off x="2177" y="2160"/>
                <a:ext cx="355" cy="413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88900" cap="sq">
                <a:solidFill>
                  <a:srgbClr val="FFFFFF"/>
                </a:solidFill>
                <a:miter lim="800000"/>
              </a:ln>
              <a:effectLst>
                <a:outerShdw blurRad="55000" dist="18000" dir="54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</p:pic>
        </p:grpSp>
        <p:sp>
          <p:nvSpPr>
            <p:cNvPr id="47" name="41 Pentágono">
              <a:extLst>
                <a:ext uri="{FF2B5EF4-FFF2-40B4-BE49-F238E27FC236}">
                  <a16:creationId xmlns:a16="http://schemas.microsoft.com/office/drawing/2014/main" id="{02A64781-6BF0-450B-8BCD-BCB2F3CF73D5}"/>
                </a:ext>
              </a:extLst>
            </p:cNvPr>
            <p:cNvSpPr/>
            <p:nvPr/>
          </p:nvSpPr>
          <p:spPr>
            <a:xfrm>
              <a:off x="899592" y="1340768"/>
              <a:ext cx="6768753" cy="5184576"/>
            </a:xfrm>
            <a:prstGeom prst="homePlate">
              <a:avLst>
                <a:gd name="adj" fmla="val 19085"/>
              </a:avLst>
            </a:prstGeom>
            <a:noFill/>
            <a:ln w="38100"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48" name="42 CuadroTexto">
              <a:extLst>
                <a:ext uri="{FF2B5EF4-FFF2-40B4-BE49-F238E27FC236}">
                  <a16:creationId xmlns:a16="http://schemas.microsoft.com/office/drawing/2014/main" id="{85329523-FCFD-458D-A96C-6EF6E0733239}"/>
                </a:ext>
              </a:extLst>
            </p:cNvPr>
            <p:cNvSpPr txBox="1"/>
            <p:nvPr/>
          </p:nvSpPr>
          <p:spPr>
            <a:xfrm>
              <a:off x="7408349" y="2341631"/>
              <a:ext cx="1187888" cy="26825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4400" b="1" dirty="0">
                  <a:solidFill>
                    <a:srgbClr val="92D050"/>
                  </a:solidFill>
                </a:rPr>
                <a:t>??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61426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n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4705"/>
            <a:ext cx="9144000" cy="6012614"/>
          </a:xfrm>
          <a:prstGeom prst="rect">
            <a:avLst/>
          </a:prstGeom>
        </p:spPr>
      </p:pic>
      <p:sp>
        <p:nvSpPr>
          <p:cNvPr id="5" name="CuadroTexto 30"/>
          <p:cNvSpPr txBox="1"/>
          <p:nvPr/>
        </p:nvSpPr>
        <p:spPr>
          <a:xfrm>
            <a:off x="265815" y="935673"/>
            <a:ext cx="278539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46088" indent="-446088"/>
            <a:r>
              <a:rPr lang="es-ES" sz="2400" b="1" u="sng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Planta de </a:t>
            </a:r>
            <a:r>
              <a:rPr lang="es-ES" sz="2400" b="1" u="sng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Mutriku</a:t>
            </a:r>
            <a:endParaRPr lang="es-ES" sz="2400" b="1" u="sng" dirty="0">
              <a:solidFill>
                <a:schemeClr val="tx1">
                  <a:lumMod val="90000"/>
                  <a:lumOff val="10000"/>
                </a:schemeClr>
              </a:solidFill>
              <a:latin typeface="Lato" pitchFamily="34" charset="0"/>
              <a:cs typeface="Univers 55"/>
            </a:endParaRPr>
          </a:p>
        </p:txBody>
      </p:sp>
      <p:sp>
        <p:nvSpPr>
          <p:cNvPr id="7" name="11 CuadroTexto"/>
          <p:cNvSpPr txBox="1">
            <a:spLocks noChangeArrowheads="1"/>
          </p:cNvSpPr>
          <p:nvPr/>
        </p:nvSpPr>
        <p:spPr bwMode="auto">
          <a:xfrm>
            <a:off x="108444" y="1477933"/>
            <a:ext cx="6377412" cy="357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buClr>
                <a:srgbClr val="00B0F0"/>
              </a:buClr>
              <a:defRPr/>
            </a:pPr>
            <a:r>
              <a:rPr lang="es-ES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</a:rPr>
              <a:t>OBJETIVOS</a:t>
            </a:r>
          </a:p>
          <a:p>
            <a:pPr marL="360363" lvl="1" indent="-184150" algn="just" fontAlgn="auto">
              <a:spcBef>
                <a:spcPts val="600"/>
              </a:spcBef>
              <a:spcAft>
                <a:spcPts val="0"/>
              </a:spcAft>
              <a:buClr>
                <a:srgbClr val="141313">
                  <a:lumMod val="50000"/>
                  <a:lumOff val="50000"/>
                </a:srgbClr>
              </a:buClr>
              <a:buSzPct val="90000"/>
              <a:buFont typeface="Wingdings" pitchFamily="2" charset="2"/>
              <a:buChar char="§"/>
              <a:defRPr/>
            </a:pP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Demostración de la tecnología OWC (columna de agua oscilante) </a:t>
            </a:r>
          </a:p>
          <a:p>
            <a:pPr marL="360363" lvl="1" indent="-184150" algn="just" fontAlgn="auto">
              <a:spcBef>
                <a:spcPts val="600"/>
              </a:spcBef>
              <a:spcAft>
                <a:spcPts val="0"/>
              </a:spcAft>
              <a:buClr>
                <a:srgbClr val="141313">
                  <a:lumMod val="50000"/>
                  <a:lumOff val="50000"/>
                </a:srgbClr>
              </a:buClr>
              <a:buSzPct val="90000"/>
              <a:buFont typeface="Wingdings" pitchFamily="2" charset="2"/>
              <a:buChar char="§"/>
              <a:defRPr/>
            </a:pP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Infraestructura de ensayo</a:t>
            </a:r>
          </a:p>
          <a:p>
            <a:pPr marL="342900" indent="-342900">
              <a:spcAft>
                <a:spcPct val="20000"/>
              </a:spcAft>
              <a:buClr>
                <a:srgbClr val="92D050"/>
              </a:buClr>
              <a:buFont typeface="Wingdings" pitchFamily="2" charset="2"/>
              <a:buChar char="§"/>
              <a:defRPr/>
            </a:pPr>
            <a:endParaRPr lang="es-ES" sz="1600" dirty="0">
              <a:solidFill>
                <a:schemeClr val="tx1">
                  <a:lumMod val="90000"/>
                  <a:lumOff val="10000"/>
                </a:schemeClr>
              </a:solidFill>
              <a:latin typeface="Lato" pitchFamily="34" charset="0"/>
              <a:cs typeface="Arial" pitchFamily="34" charset="0"/>
            </a:endParaRPr>
          </a:p>
          <a:p>
            <a:pPr>
              <a:buClr>
                <a:srgbClr val="00B0F0"/>
              </a:buClr>
            </a:pPr>
            <a:r>
              <a:rPr lang="es-ES_tradnl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</a:rPr>
              <a:t>CARACTERÍSTICAS</a:t>
            </a:r>
          </a:p>
          <a:p>
            <a:pPr marL="360363" lvl="1" indent="-184150" algn="just" fontAlgn="auto">
              <a:spcBef>
                <a:spcPts val="600"/>
              </a:spcBef>
              <a:spcAft>
                <a:spcPts val="0"/>
              </a:spcAft>
              <a:buClr>
                <a:srgbClr val="141313">
                  <a:lumMod val="50000"/>
                  <a:lumOff val="50000"/>
                </a:srgbClr>
              </a:buClr>
              <a:buSzPct val="90000"/>
              <a:buFont typeface="Wingdings" pitchFamily="2" charset="2"/>
              <a:buChar char="§"/>
              <a:defRPr/>
            </a:pP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Se aprovecha la construcción de un nuevo dique de abrigo para integrar una planta de aprovechamiento energético del oleaje</a:t>
            </a:r>
          </a:p>
          <a:p>
            <a:pPr marL="360363" lvl="1" indent="-184150" algn="just" fontAlgn="auto">
              <a:spcBef>
                <a:spcPts val="600"/>
              </a:spcBef>
              <a:spcAft>
                <a:spcPts val="0"/>
              </a:spcAft>
              <a:buClr>
                <a:srgbClr val="141313">
                  <a:lumMod val="50000"/>
                  <a:lumOff val="50000"/>
                </a:srgbClr>
              </a:buClr>
              <a:buSzPct val="90000"/>
              <a:buFont typeface="Wingdings" pitchFamily="2" charset="2"/>
              <a:buChar char="§"/>
              <a:defRPr/>
            </a:pP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Potencia: </a:t>
            </a:r>
            <a:r>
              <a:rPr lang="es-ES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Multiturbina</a:t>
            </a: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 (16 x 18,5 </a:t>
            </a:r>
            <a:r>
              <a:rPr lang="es-ES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kW</a:t>
            </a: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), 296 </a:t>
            </a:r>
            <a:r>
              <a:rPr lang="es-ES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kW</a:t>
            </a:r>
            <a:endParaRPr lang="es-ES" sz="1600" dirty="0">
              <a:solidFill>
                <a:schemeClr val="tx1">
                  <a:lumMod val="90000"/>
                  <a:lumOff val="10000"/>
                </a:schemeClr>
              </a:solidFill>
              <a:latin typeface="Lato" pitchFamily="34" charset="0"/>
              <a:cs typeface="Univers 55"/>
            </a:endParaRPr>
          </a:p>
          <a:p>
            <a:pPr marL="360363" lvl="1" indent="-184150" algn="just" fontAlgn="auto">
              <a:spcBef>
                <a:spcPts val="600"/>
              </a:spcBef>
              <a:spcAft>
                <a:spcPts val="0"/>
              </a:spcAft>
              <a:buClr>
                <a:srgbClr val="141313">
                  <a:lumMod val="50000"/>
                  <a:lumOff val="50000"/>
                </a:srgbClr>
              </a:buClr>
              <a:buSzPct val="90000"/>
              <a:buFont typeface="Wingdings" pitchFamily="2" charset="2"/>
              <a:buChar char="§"/>
              <a:defRPr/>
            </a:pP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Promotores: EVE y Gobierno Vasco (Puertos)</a:t>
            </a:r>
          </a:p>
          <a:p>
            <a:pPr marL="342900" indent="-342900">
              <a:spcAft>
                <a:spcPct val="20000"/>
              </a:spcAft>
              <a:buClr>
                <a:srgbClr val="00B0F0"/>
              </a:buClr>
              <a:buFont typeface="Wingdings" pitchFamily="2" charset="2"/>
              <a:buChar char="§"/>
            </a:pPr>
            <a:endParaRPr lang="es-ES" sz="1600" dirty="0">
              <a:solidFill>
                <a:schemeClr val="tx2"/>
              </a:solidFill>
              <a:latin typeface="Lato" pitchFamily="34" charset="0"/>
              <a:cs typeface="Arial" pitchFamily="34" charset="0"/>
            </a:endParaRPr>
          </a:p>
          <a:p>
            <a:pPr marL="342900" indent="-342900">
              <a:spcAft>
                <a:spcPct val="20000"/>
              </a:spcAft>
              <a:buClr>
                <a:srgbClr val="00B0F0"/>
              </a:buClr>
              <a:buFont typeface="Wingdings" pitchFamily="2" charset="2"/>
              <a:buChar char="§"/>
            </a:pPr>
            <a:endParaRPr lang="es-ES" sz="1600" dirty="0">
              <a:solidFill>
                <a:schemeClr val="tx2"/>
              </a:solidFill>
              <a:latin typeface="Lato" pitchFamily="34" charset="0"/>
              <a:cs typeface="Arial" pitchFamily="34" charset="0"/>
            </a:endParaRPr>
          </a:p>
          <a:p>
            <a:pPr marL="342900" indent="-342900">
              <a:spcAft>
                <a:spcPct val="20000"/>
              </a:spcAft>
              <a:buClr>
                <a:srgbClr val="00B0F0"/>
              </a:buClr>
              <a:buFont typeface="Wingdings" pitchFamily="2" charset="2"/>
              <a:buChar char="§"/>
            </a:pPr>
            <a:endParaRPr lang="es-ES" sz="1600" dirty="0">
              <a:solidFill>
                <a:schemeClr val="tx2"/>
              </a:solidFill>
              <a:latin typeface="Lato" pitchFamily="34" charset="0"/>
              <a:cs typeface="Arial" pitchFamily="34" charset="0"/>
            </a:endParaRPr>
          </a:p>
        </p:txBody>
      </p:sp>
      <p:pic>
        <p:nvPicPr>
          <p:cNvPr id="8" name="Picture 2" descr="I:\03 EXPLOTACIÓN DE INSTALACIONES\04 MARINA\01 MUTRIKU\Proyecto_Mutriku\Fotografias\Fotos Aeronor\BAJA\16391-0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12882" y="1297172"/>
            <a:ext cx="2527693" cy="213679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10 Imagen" descr="IMG_3506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412868" y="3881665"/>
            <a:ext cx="2527693" cy="213679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1" name="Marcador de texto 2"/>
          <p:cNvSpPr txBox="1">
            <a:spLocks/>
          </p:cNvSpPr>
          <p:nvPr/>
        </p:nvSpPr>
        <p:spPr>
          <a:xfrm>
            <a:off x="97241" y="3286"/>
            <a:ext cx="5486967" cy="761418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defTabSz="914231" fontAlgn="auto">
              <a:spcBef>
                <a:spcPts val="2399"/>
              </a:spcBef>
              <a:spcAft>
                <a:spcPts val="0"/>
              </a:spcAft>
              <a:buSzPct val="90000"/>
              <a:defRPr/>
            </a:pPr>
            <a:r>
              <a:rPr lang="es-ES" sz="2800" b="1" i="1" dirty="0">
                <a:solidFill>
                  <a:srgbClr val="033E7E"/>
                </a:solidFill>
                <a:latin typeface="Lato" pitchFamily="34" charset="0"/>
                <a:ea typeface="+mn-ea"/>
                <a:cs typeface="Univers 45 Light"/>
              </a:rPr>
              <a:t>NUESTRO POSICIONAMIENTO</a:t>
            </a:r>
          </a:p>
        </p:txBody>
      </p:sp>
      <p:grpSp>
        <p:nvGrpSpPr>
          <p:cNvPr id="13" name="Group 8"/>
          <p:cNvGrpSpPr>
            <a:grpSpLocks/>
          </p:cNvGrpSpPr>
          <p:nvPr/>
        </p:nvGrpSpPr>
        <p:grpSpPr bwMode="auto">
          <a:xfrm>
            <a:off x="683569" y="4389108"/>
            <a:ext cx="5110839" cy="2416693"/>
            <a:chOff x="1005" y="1968"/>
            <a:chExt cx="4050" cy="2155"/>
          </a:xfrm>
        </p:grpSpPr>
        <p:pic>
          <p:nvPicPr>
            <p:cNvPr id="14" name="Picture 9" descr="C:\WINDOWS\Escritorio\mutriku\grafico1_cast.jp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008" y="1968"/>
              <a:ext cx="1968" cy="14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" name="Picture 10" descr="C:\WINDOWS\Escritorio\mutriku\grafico2_cast.jp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024" y="1968"/>
              <a:ext cx="1968" cy="14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3030" y="3576"/>
              <a:ext cx="2025" cy="530"/>
            </a:xfrm>
            <a:prstGeom prst="rect">
              <a:avLst/>
            </a:prstGeom>
            <a:solidFill>
              <a:srgbClr val="147CC2"/>
            </a:solidFill>
            <a:ln w="12700">
              <a:noFill/>
              <a:miter lim="800000"/>
              <a:headEnd/>
              <a:tailEnd/>
            </a:ln>
          </p:spPr>
          <p:txBody>
            <a:bodyPr wrap="square" lIns="90000" tIns="43200" rIns="90000" bIns="43200">
              <a:spAutoFit/>
            </a:bodyPr>
            <a:lstStyle/>
            <a:p>
              <a:pPr algn="ctr">
                <a:lnSpc>
                  <a:spcPct val="60000"/>
                </a:lnSpc>
                <a:spcBef>
                  <a:spcPct val="50000"/>
                </a:spcBef>
                <a:buClr>
                  <a:schemeClr val="accent2"/>
                </a:buClr>
                <a:buSzPct val="120000"/>
                <a:buFont typeface="Wingdings" pitchFamily="2" charset="2"/>
                <a:buNone/>
              </a:pPr>
              <a:br>
                <a:rPr lang="es-ES_tradnl" sz="1100" b="1" dirty="0">
                  <a:solidFill>
                    <a:schemeClr val="bg1"/>
                  </a:solidFill>
                  <a:latin typeface="Lato" panose="020F0502020204030203" pitchFamily="34" charset="0"/>
                  <a:cs typeface="Times New Roman" pitchFamily="18" charset="0"/>
                </a:rPr>
              </a:br>
              <a:r>
                <a:rPr lang="es-ES_tradnl" sz="1100" b="1" dirty="0">
                  <a:solidFill>
                    <a:schemeClr val="bg1"/>
                  </a:solidFill>
                  <a:latin typeface="Lato" panose="020F0502020204030203" pitchFamily="34" charset="0"/>
                  <a:cs typeface="Times New Roman" pitchFamily="18" charset="0"/>
                </a:rPr>
                <a:t>Columna de agua oscilante (OWC) </a:t>
              </a:r>
            </a:p>
            <a:p>
              <a:pPr algn="ctr">
                <a:lnSpc>
                  <a:spcPct val="60000"/>
                </a:lnSpc>
                <a:spcBef>
                  <a:spcPct val="50000"/>
                </a:spcBef>
                <a:buClr>
                  <a:schemeClr val="accent2"/>
                </a:buClr>
                <a:buSzPct val="120000"/>
                <a:buFont typeface="Wingdings" pitchFamily="2" charset="2"/>
                <a:buNone/>
              </a:pPr>
              <a:r>
                <a:rPr lang="es-ES_tradnl" sz="1100" b="1" dirty="0">
                  <a:solidFill>
                    <a:schemeClr val="bg1"/>
                  </a:solidFill>
                  <a:latin typeface="Lato" panose="020F0502020204030203" pitchFamily="34" charset="0"/>
                  <a:cs typeface="Times New Roman" pitchFamily="18" charset="0"/>
                </a:rPr>
                <a:t>Fig. 2</a:t>
              </a:r>
              <a:br>
                <a:rPr lang="es-ES_tradnl" sz="1200" b="1" dirty="0">
                  <a:solidFill>
                    <a:schemeClr val="bg1"/>
                  </a:solidFill>
                  <a:latin typeface="Univers" pitchFamily="34" charset="0"/>
                  <a:cs typeface="Times New Roman" pitchFamily="18" charset="0"/>
                </a:rPr>
              </a:br>
              <a:endParaRPr lang="es-ES_tradnl" sz="1200" b="1" dirty="0">
                <a:solidFill>
                  <a:schemeClr val="bg1"/>
                </a:solidFill>
                <a:latin typeface="Univers" pitchFamily="34" charset="0"/>
                <a:cs typeface="Times New Roman" pitchFamily="18" charset="0"/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>
              <a:off x="1005" y="3576"/>
              <a:ext cx="1939" cy="547"/>
            </a:xfrm>
            <a:prstGeom prst="rect">
              <a:avLst/>
            </a:prstGeom>
            <a:solidFill>
              <a:srgbClr val="147CC2"/>
            </a:solidFill>
            <a:ln w="12700">
              <a:noFill/>
              <a:miter lim="800000"/>
              <a:headEnd/>
              <a:tailEnd/>
            </a:ln>
          </p:spPr>
          <p:txBody>
            <a:bodyPr wrap="square" lIns="90000" tIns="43200" rIns="90000" bIns="43200">
              <a:spAutoFit/>
            </a:bodyPr>
            <a:lstStyle/>
            <a:p>
              <a:pPr algn="ctr">
                <a:lnSpc>
                  <a:spcPct val="6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20000"/>
                <a:buFont typeface="Wingdings" pitchFamily="2" charset="2"/>
                <a:buNone/>
              </a:pPr>
              <a:br>
                <a:rPr lang="es-ES_tradnl" sz="1100" b="1" dirty="0">
                  <a:solidFill>
                    <a:schemeClr val="bg1"/>
                  </a:solidFill>
                  <a:latin typeface="Lato" panose="020F0502020204030203" pitchFamily="34" charset="0"/>
                  <a:cs typeface="Times New Roman" pitchFamily="18" charset="0"/>
                </a:rPr>
              </a:br>
              <a:r>
                <a:rPr lang="es-ES_tradnl" sz="1100" b="1" dirty="0">
                  <a:solidFill>
                    <a:schemeClr val="bg1"/>
                  </a:solidFill>
                  <a:latin typeface="Lato" panose="020F0502020204030203" pitchFamily="34" charset="0"/>
                  <a:cs typeface="Times New Roman" pitchFamily="18" charset="0"/>
                </a:rPr>
                <a:t>Columna de agua oscilante (OWC) </a:t>
              </a:r>
            </a:p>
            <a:p>
              <a:pPr algn="ctr">
                <a:lnSpc>
                  <a:spcPct val="60000"/>
                </a:lnSpc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SzPct val="120000"/>
                <a:buFont typeface="Wingdings" pitchFamily="2" charset="2"/>
                <a:buNone/>
              </a:pPr>
              <a:r>
                <a:rPr lang="es-ES_tradnl" sz="1100" b="1" dirty="0">
                  <a:solidFill>
                    <a:schemeClr val="bg1"/>
                  </a:solidFill>
                  <a:latin typeface="Lato" panose="020F0502020204030203" pitchFamily="34" charset="0"/>
                  <a:cs typeface="Times New Roman" pitchFamily="18" charset="0"/>
                </a:rPr>
                <a:t>Fig. 1</a:t>
              </a:r>
              <a:br>
                <a:rPr lang="es-ES_tradnl" sz="1100" b="1" dirty="0">
                  <a:solidFill>
                    <a:schemeClr val="bg1"/>
                  </a:solidFill>
                  <a:latin typeface="Lato" panose="020F0502020204030203" pitchFamily="34" charset="0"/>
                  <a:cs typeface="Times New Roman" pitchFamily="18" charset="0"/>
                </a:rPr>
              </a:br>
              <a:endParaRPr lang="es-ES_tradnl" sz="1100" b="1" dirty="0">
                <a:solidFill>
                  <a:schemeClr val="bg1"/>
                </a:solidFill>
                <a:latin typeface="Lato" panose="020F0502020204030203" pitchFamily="34" charset="0"/>
                <a:cs typeface="Times New Roman" pitchFamily="18" charset="0"/>
              </a:endParaRPr>
            </a:p>
          </p:txBody>
        </p:sp>
      </p:grpSp>
      <p:pic>
        <p:nvPicPr>
          <p:cNvPr id="19" name="Imagen 1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606" y="117175"/>
            <a:ext cx="1386327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5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4705"/>
            <a:ext cx="9144000" cy="6012614"/>
          </a:xfrm>
          <a:prstGeom prst="rect">
            <a:avLst/>
          </a:prstGeom>
        </p:spPr>
      </p:pic>
      <p:sp>
        <p:nvSpPr>
          <p:cNvPr id="4" name="CuadroTexto 30"/>
          <p:cNvSpPr txBox="1"/>
          <p:nvPr/>
        </p:nvSpPr>
        <p:spPr>
          <a:xfrm>
            <a:off x="265815" y="903774"/>
            <a:ext cx="282825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46088" indent="-446088"/>
            <a:r>
              <a:rPr lang="es-ES" sz="2400" b="1" u="sng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BiMEP</a:t>
            </a:r>
            <a:endParaRPr lang="es-ES" sz="2400" b="1" u="sng" dirty="0">
              <a:solidFill>
                <a:schemeClr val="tx1">
                  <a:lumMod val="90000"/>
                  <a:lumOff val="10000"/>
                </a:schemeClr>
              </a:solidFill>
              <a:latin typeface="Lato" pitchFamily="34" charset="0"/>
              <a:cs typeface="Univers 55"/>
            </a:endParaRPr>
          </a:p>
        </p:txBody>
      </p:sp>
      <p:sp>
        <p:nvSpPr>
          <p:cNvPr id="5" name="11 CuadroTexto"/>
          <p:cNvSpPr txBox="1">
            <a:spLocks noChangeArrowheads="1"/>
          </p:cNvSpPr>
          <p:nvPr/>
        </p:nvSpPr>
        <p:spPr bwMode="auto">
          <a:xfrm>
            <a:off x="182875" y="1247414"/>
            <a:ext cx="4612400" cy="4073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buClr>
                <a:srgbClr val="00B0F0"/>
              </a:buClr>
              <a:defRPr/>
            </a:pPr>
            <a:r>
              <a:rPr lang="es-ES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</a:rPr>
              <a:t>OBJETIVOS</a:t>
            </a:r>
          </a:p>
          <a:p>
            <a:pPr marL="360363" lvl="1" indent="-184150" algn="just" fontAlgn="auto">
              <a:spcBef>
                <a:spcPts val="600"/>
              </a:spcBef>
              <a:spcAft>
                <a:spcPts val="0"/>
              </a:spcAft>
              <a:buClr>
                <a:srgbClr val="141313">
                  <a:lumMod val="50000"/>
                  <a:lumOff val="50000"/>
                </a:srgbClr>
              </a:buClr>
              <a:buSzPct val="90000"/>
              <a:buFont typeface="Wingdings" pitchFamily="2" charset="2"/>
              <a:buChar char="§"/>
              <a:defRPr/>
            </a:pPr>
            <a:r>
              <a:rPr lang="es-ES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Demostración y validación de dispositivos de energías marinas</a:t>
            </a:r>
          </a:p>
          <a:p>
            <a:pPr marL="360363" lvl="1" indent="-184150" algn="just" fontAlgn="auto">
              <a:spcBef>
                <a:spcPts val="600"/>
              </a:spcBef>
              <a:spcAft>
                <a:spcPts val="0"/>
              </a:spcAft>
              <a:buClr>
                <a:srgbClr val="141313">
                  <a:lumMod val="50000"/>
                  <a:lumOff val="50000"/>
                </a:srgbClr>
              </a:buClr>
              <a:buSzPct val="90000"/>
              <a:buFont typeface="Wingdings" pitchFamily="2" charset="2"/>
              <a:buChar char="§"/>
              <a:defRPr/>
            </a:pPr>
            <a:r>
              <a:rPr lang="es-ES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Infraestructura de ensayo</a:t>
            </a:r>
          </a:p>
          <a:p>
            <a:pPr marL="342900" indent="-342900" algn="just">
              <a:spcAft>
                <a:spcPct val="20000"/>
              </a:spcAft>
              <a:buClr>
                <a:srgbClr val="92D050"/>
              </a:buClr>
              <a:buFont typeface="Wingdings" pitchFamily="2" charset="2"/>
              <a:buChar char="§"/>
              <a:defRPr/>
            </a:pPr>
            <a:endParaRPr lang="es-ES" sz="1600" dirty="0">
              <a:solidFill>
                <a:schemeClr val="tx1">
                  <a:lumMod val="90000"/>
                  <a:lumOff val="10000"/>
                </a:schemeClr>
              </a:solidFill>
              <a:latin typeface="Lato" pitchFamily="34" charset="0"/>
              <a:cs typeface="Arial" pitchFamily="34" charset="0"/>
            </a:endParaRPr>
          </a:p>
          <a:p>
            <a:pPr algn="just">
              <a:spcAft>
                <a:spcPts val="600"/>
              </a:spcAft>
              <a:buClr>
                <a:srgbClr val="00B0F0"/>
              </a:buClr>
            </a:pPr>
            <a:r>
              <a:rPr lang="es-ES_tradnl" sz="16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</a:rPr>
              <a:t>CARACTERÍSTICAS</a:t>
            </a:r>
          </a:p>
          <a:p>
            <a:pPr marL="360363" lvl="1" indent="-184150" algn="just" fontAlgn="auto">
              <a:spcBef>
                <a:spcPts val="300"/>
              </a:spcBef>
              <a:spcAft>
                <a:spcPts val="0"/>
              </a:spcAft>
              <a:buClr>
                <a:srgbClr val="141313">
                  <a:lumMod val="50000"/>
                  <a:lumOff val="50000"/>
                </a:srgbClr>
              </a:buClr>
              <a:buSzPct val="90000"/>
              <a:buFont typeface="Wingdings" pitchFamily="2" charset="2"/>
              <a:buChar char="§"/>
              <a:defRPr/>
            </a:pPr>
            <a:r>
              <a:rPr lang="es-ES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20 MW de potencia total</a:t>
            </a:r>
          </a:p>
          <a:p>
            <a:pPr marL="360363" lvl="1" indent="-184150" algn="just" fontAlgn="auto">
              <a:spcBef>
                <a:spcPts val="300"/>
              </a:spcBef>
              <a:spcAft>
                <a:spcPts val="0"/>
              </a:spcAft>
              <a:buClr>
                <a:srgbClr val="141313">
                  <a:lumMod val="50000"/>
                  <a:lumOff val="50000"/>
                </a:srgbClr>
              </a:buClr>
              <a:buSzPct val="90000"/>
              <a:buFont typeface="Wingdings" pitchFamily="2" charset="2"/>
              <a:buChar char="§"/>
              <a:defRPr/>
            </a:pPr>
            <a:r>
              <a:rPr lang="es-ES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Varios puntos de conexión</a:t>
            </a:r>
          </a:p>
          <a:p>
            <a:pPr marL="360363" lvl="1" indent="-184150" algn="just" fontAlgn="auto">
              <a:spcBef>
                <a:spcPts val="300"/>
              </a:spcBef>
              <a:spcAft>
                <a:spcPts val="0"/>
              </a:spcAft>
              <a:buClr>
                <a:srgbClr val="141313">
                  <a:lumMod val="50000"/>
                  <a:lumOff val="50000"/>
                </a:srgbClr>
              </a:buClr>
              <a:buSzPct val="90000"/>
              <a:buFont typeface="Wingdings" pitchFamily="2" charset="2"/>
              <a:buChar char="§"/>
              <a:defRPr/>
            </a:pPr>
            <a:r>
              <a:rPr lang="es-ES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Diseñada para facilitar la instalación, operación y mantenimiento de los dispositivos a ensayar</a:t>
            </a:r>
          </a:p>
          <a:p>
            <a:pPr marL="360363" lvl="1" indent="-184150" algn="just" fontAlgn="auto">
              <a:spcBef>
                <a:spcPts val="300"/>
              </a:spcBef>
              <a:spcAft>
                <a:spcPts val="0"/>
              </a:spcAft>
              <a:buClr>
                <a:srgbClr val="141313">
                  <a:lumMod val="50000"/>
                  <a:lumOff val="50000"/>
                </a:srgbClr>
              </a:buClr>
              <a:buSzPct val="90000"/>
              <a:buFont typeface="Wingdings" pitchFamily="2" charset="2"/>
              <a:buChar char="§"/>
              <a:defRPr/>
            </a:pPr>
            <a:r>
              <a:rPr lang="es-ES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Área de ensayos vigilada 24/7</a:t>
            </a:r>
          </a:p>
          <a:p>
            <a:pPr marL="360363" lvl="1" indent="-184150" algn="just" fontAlgn="auto">
              <a:spcBef>
                <a:spcPts val="300"/>
              </a:spcBef>
              <a:spcAft>
                <a:spcPts val="0"/>
              </a:spcAft>
              <a:buClr>
                <a:srgbClr val="141313">
                  <a:lumMod val="50000"/>
                  <a:lumOff val="50000"/>
                </a:srgbClr>
              </a:buClr>
              <a:buSzPct val="90000"/>
              <a:buFont typeface="Wingdings" pitchFamily="2" charset="2"/>
              <a:buChar char="§"/>
              <a:defRPr/>
            </a:pPr>
            <a:r>
              <a:rPr lang="es-ES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Promotores: EVE e IDAE</a:t>
            </a:r>
          </a:p>
        </p:txBody>
      </p:sp>
      <p:pic>
        <p:nvPicPr>
          <p:cNvPr id="7" name="Picture 8" descr="foto_base_iker"/>
          <p:cNvPicPr>
            <a:picLocks noChangeAspect="1" noChangeArrowheads="1"/>
          </p:cNvPicPr>
          <p:nvPr/>
        </p:nvPicPr>
        <p:blipFill>
          <a:blip r:embed="rId4" cstate="print">
            <a:lum bright="30000"/>
          </a:blip>
          <a:srcRect/>
          <a:stretch>
            <a:fillRect/>
          </a:stretch>
        </p:blipFill>
        <p:spPr bwMode="auto">
          <a:xfrm>
            <a:off x="313940" y="5138647"/>
            <a:ext cx="8612370" cy="145896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Picture 2" descr="C:\Users\CERIB\AppData\Local\Microsoft\Windows\Temporary Internet Files\Content.Outlook\UFGHOS4I\Ortofoto BiMEP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799926" y="1697285"/>
            <a:ext cx="4257449" cy="2983567"/>
          </a:xfrm>
          <a:prstGeom prst="rect">
            <a:avLst/>
          </a:prstGeom>
          <a:noFill/>
          <a:effectLst>
            <a:softEdge rad="127000"/>
          </a:effectLst>
        </p:spPr>
      </p:pic>
      <p:sp>
        <p:nvSpPr>
          <p:cNvPr id="12" name="Marcador de texto 2"/>
          <p:cNvSpPr txBox="1">
            <a:spLocks/>
          </p:cNvSpPr>
          <p:nvPr/>
        </p:nvSpPr>
        <p:spPr>
          <a:xfrm>
            <a:off x="106205" y="3286"/>
            <a:ext cx="5292000" cy="761418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defTabSz="914231" fontAlgn="auto">
              <a:spcBef>
                <a:spcPts val="2399"/>
              </a:spcBef>
              <a:spcAft>
                <a:spcPts val="0"/>
              </a:spcAft>
              <a:buSzPct val="90000"/>
              <a:defRPr/>
            </a:pPr>
            <a:r>
              <a:rPr lang="es-ES" sz="2800" b="1" i="1" dirty="0">
                <a:solidFill>
                  <a:srgbClr val="033E7E"/>
                </a:solidFill>
                <a:latin typeface="Lato" pitchFamily="34" charset="0"/>
                <a:ea typeface="+mn-ea"/>
                <a:cs typeface="Univers 45 Light"/>
              </a:rPr>
              <a:t>NUESTRO POSICIONAMIENTO</a:t>
            </a:r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489" y="117175"/>
            <a:ext cx="1386327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376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4705"/>
            <a:ext cx="9144000" cy="6012614"/>
          </a:xfrm>
          <a:prstGeom prst="rect">
            <a:avLst/>
          </a:prstGeom>
        </p:spPr>
      </p:pic>
      <p:sp>
        <p:nvSpPr>
          <p:cNvPr id="12" name="Marcador de texto 2"/>
          <p:cNvSpPr txBox="1">
            <a:spLocks/>
          </p:cNvSpPr>
          <p:nvPr/>
        </p:nvSpPr>
        <p:spPr>
          <a:xfrm>
            <a:off x="171014" y="3286"/>
            <a:ext cx="5256000" cy="761418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defTabSz="914231" fontAlgn="auto">
              <a:spcBef>
                <a:spcPts val="2399"/>
              </a:spcBef>
              <a:spcAft>
                <a:spcPts val="0"/>
              </a:spcAft>
              <a:buSzPct val="90000"/>
              <a:defRPr/>
            </a:pPr>
            <a:r>
              <a:rPr lang="es-ES" sz="2800" b="1" i="1" dirty="0">
                <a:solidFill>
                  <a:srgbClr val="033E7E"/>
                </a:solidFill>
                <a:latin typeface="Lato" pitchFamily="34" charset="0"/>
                <a:ea typeface="+mn-ea"/>
                <a:cs typeface="Univers 45 Light"/>
              </a:rPr>
              <a:t>NUESTRO POSICIONAMIENTO</a:t>
            </a:r>
          </a:p>
        </p:txBody>
      </p:sp>
      <p:grpSp>
        <p:nvGrpSpPr>
          <p:cNvPr id="10" name="65 Grupo"/>
          <p:cNvGrpSpPr>
            <a:grpSpLocks noChangeAspect="1"/>
          </p:cNvGrpSpPr>
          <p:nvPr/>
        </p:nvGrpSpPr>
        <p:grpSpPr>
          <a:xfrm>
            <a:off x="393422" y="1406260"/>
            <a:ext cx="8378438" cy="5328000"/>
            <a:chOff x="0" y="764704"/>
            <a:chExt cx="9144000" cy="6003032"/>
          </a:xfrm>
        </p:grpSpPr>
        <p:pic>
          <p:nvPicPr>
            <p:cNvPr id="13" name="Picture 2" descr="Resultado de imagen de olas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>
              <a:lum bright="70000" contrast="-70000"/>
            </a:blip>
            <a:srcRect t="271"/>
            <a:stretch>
              <a:fillRect/>
            </a:stretch>
          </p:blipFill>
          <p:spPr bwMode="auto">
            <a:xfrm>
              <a:off x="0" y="764704"/>
              <a:ext cx="9144000" cy="6003032"/>
            </a:xfrm>
            <a:prstGeom prst="rect">
              <a:avLst/>
            </a:prstGeom>
            <a:noFill/>
          </p:spPr>
        </p:pic>
        <p:pic>
          <p:nvPicPr>
            <p:cNvPr id="14" name="11 Imagen"/>
            <p:cNvPicPr>
              <a:picLocks noChangeAspect="1"/>
            </p:cNvPicPr>
            <p:nvPr/>
          </p:nvPicPr>
          <p:blipFill>
            <a:blip r:embed="rId6" cstate="email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238" y="922296"/>
              <a:ext cx="8952271" cy="5773175"/>
            </a:xfrm>
            <a:prstGeom prst="rect">
              <a:avLst/>
            </a:prstGeom>
          </p:spPr>
        </p:pic>
        <p:grpSp>
          <p:nvGrpSpPr>
            <p:cNvPr id="15" name="Group 97"/>
            <p:cNvGrpSpPr>
              <a:grpSpLocks/>
            </p:cNvGrpSpPr>
            <p:nvPr/>
          </p:nvGrpSpPr>
          <p:grpSpPr bwMode="auto">
            <a:xfrm>
              <a:off x="389860" y="2459914"/>
              <a:ext cx="1306663" cy="905237"/>
              <a:chOff x="827" y="2588"/>
              <a:chExt cx="905" cy="674"/>
            </a:xfrm>
          </p:grpSpPr>
          <p:sp>
            <p:nvSpPr>
              <p:cNvPr id="60" name="Text Box 6"/>
              <p:cNvSpPr txBox="1">
                <a:spLocks noChangeArrowheads="1"/>
              </p:cNvSpPr>
              <p:nvPr/>
            </p:nvSpPr>
            <p:spPr bwMode="auto">
              <a:xfrm>
                <a:off x="955" y="2588"/>
                <a:ext cx="694" cy="1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56108" tIns="28054" rIns="56108" bIns="28054">
                <a:spAutoFit/>
              </a:bodyPr>
              <a:lstStyle>
                <a:lvl1pPr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1pPr>
                <a:lvl2pPr marL="280988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560388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841375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1122363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15795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0367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24939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29511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r>
                  <a:rPr lang="es-ES" sz="1100" b="1" dirty="0">
                    <a:solidFill>
                      <a:srgbClr val="FFFFFF"/>
                    </a:solidFill>
                  </a:rPr>
                  <a:t>Sub-</a:t>
                </a:r>
                <a:r>
                  <a:rPr lang="es-ES" sz="1100" b="1" dirty="0" err="1">
                    <a:solidFill>
                      <a:srgbClr val="FFFFFF"/>
                    </a:solidFill>
                  </a:rPr>
                  <a:t>station</a:t>
                </a:r>
                <a:endParaRPr lang="es-ES" sz="1100" b="1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61" name="Picture 52" descr="ormazabal"/>
              <p:cNvPicPr>
                <a:picLocks noChangeAspect="1" noChangeArrowheads="1"/>
              </p:cNvPicPr>
              <p:nvPr/>
            </p:nvPicPr>
            <p:blipFill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4" y="2786"/>
                <a:ext cx="841" cy="1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2" name="Picture 93" descr="ZIV"/>
              <p:cNvPicPr>
                <a:picLocks noChangeAspect="1" noChangeArrowheads="1"/>
              </p:cNvPicPr>
              <p:nvPr/>
            </p:nvPicPr>
            <p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7" y="2943"/>
                <a:ext cx="359" cy="13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3" name="Picture 94" descr="ingeteam"/>
              <p:cNvPicPr>
                <a:picLocks noChangeAspect="1" noChangeArrowheads="1"/>
              </p:cNvPicPr>
              <p:nvPr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43" y="3099"/>
                <a:ext cx="574" cy="16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4" name="Picture 95" descr="arteche"/>
              <p:cNvPicPr>
                <a:picLocks noChangeAspect="1" noChangeArrowheads="1"/>
              </p:cNvPicPr>
              <p:nvPr/>
            </p:nvPicPr>
            <p:blipFill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08" y="2940"/>
                <a:ext cx="524" cy="13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6" name="Group 91"/>
            <p:cNvGrpSpPr>
              <a:grpSpLocks/>
            </p:cNvGrpSpPr>
            <p:nvPr/>
          </p:nvGrpSpPr>
          <p:grpSpPr bwMode="auto">
            <a:xfrm>
              <a:off x="3741888" y="2127019"/>
              <a:ext cx="2323108" cy="584237"/>
              <a:chOff x="769" y="2618"/>
              <a:chExt cx="1609" cy="435"/>
            </a:xfrm>
          </p:grpSpPr>
          <p:pic>
            <p:nvPicPr>
              <p:cNvPr id="57" name="Picture 58" descr="puerto_pasajes"/>
              <p:cNvPicPr>
                <a:picLocks noChangeAspect="1" noChangeArrowheads="1"/>
              </p:cNvPicPr>
              <p:nvPr/>
            </p:nvPicPr>
            <p:blipFill>
              <a:blip r:embed="rId1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91" y="2804"/>
                <a:ext cx="299" cy="24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8" name="Picture 59" descr="Puerto Bilbao"/>
              <p:cNvPicPr>
                <a:picLocks noChangeAspect="1" noChangeArrowheads="1"/>
              </p:cNvPicPr>
              <p:nvPr/>
            </p:nvPicPr>
            <p:blipFill>
              <a:blip r:embed="rId1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71" y="2820"/>
                <a:ext cx="381" cy="2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9" name="Text Box 60"/>
              <p:cNvSpPr txBox="1">
                <a:spLocks noChangeArrowheads="1"/>
              </p:cNvSpPr>
              <p:nvPr/>
            </p:nvSpPr>
            <p:spPr bwMode="auto">
              <a:xfrm>
                <a:off x="769" y="2618"/>
                <a:ext cx="1609" cy="19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56108" tIns="28054" rIns="56108" bIns="28054">
                <a:spAutoFit/>
              </a:bodyPr>
              <a:lstStyle>
                <a:lvl1pPr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1pPr>
                <a:lvl2pPr marL="280988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560388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841375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1122363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15795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0367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24939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29511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r>
                  <a:rPr lang="en-GB" sz="1100" b="1" dirty="0">
                    <a:solidFill>
                      <a:srgbClr val="FFFFFF"/>
                    </a:solidFill>
                  </a:rPr>
                  <a:t>Assembly and logistics base</a:t>
                </a:r>
              </a:p>
            </p:txBody>
          </p:sp>
        </p:grpSp>
        <p:grpSp>
          <p:nvGrpSpPr>
            <p:cNvPr id="17" name="Group 89"/>
            <p:cNvGrpSpPr>
              <a:grpSpLocks/>
            </p:cNvGrpSpPr>
            <p:nvPr/>
          </p:nvGrpSpPr>
          <p:grpSpPr bwMode="auto">
            <a:xfrm>
              <a:off x="5267559" y="3359089"/>
              <a:ext cx="882177" cy="541258"/>
              <a:chOff x="7154" y="1584"/>
              <a:chExt cx="611" cy="403"/>
            </a:xfrm>
          </p:grpSpPr>
          <p:sp>
            <p:nvSpPr>
              <p:cNvPr id="55" name="Text Box 16"/>
              <p:cNvSpPr txBox="1">
                <a:spLocks noChangeArrowheads="1"/>
              </p:cNvSpPr>
              <p:nvPr/>
            </p:nvSpPr>
            <p:spPr bwMode="auto">
              <a:xfrm>
                <a:off x="7154" y="1584"/>
                <a:ext cx="611" cy="19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56108" tIns="28054" rIns="56108" bIns="28054">
                <a:spAutoFit/>
              </a:bodyPr>
              <a:lstStyle>
                <a:lvl1pPr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1pPr>
                <a:lvl2pPr marL="280988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560388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841375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1122363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15795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0367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24939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29511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r>
                  <a:rPr lang="en-GB" sz="1100" b="1" dirty="0">
                    <a:solidFill>
                      <a:srgbClr val="FFFFFF"/>
                    </a:solidFill>
                  </a:rPr>
                  <a:t>Operation</a:t>
                </a:r>
              </a:p>
            </p:txBody>
          </p:sp>
          <p:pic>
            <p:nvPicPr>
              <p:cNvPr id="56" name="Picture 25" descr="Iberdrola ok"/>
              <p:cNvPicPr>
                <a:picLocks noChangeAspect="1" noChangeArrowheads="1"/>
              </p:cNvPicPr>
              <p:nvPr/>
            </p:nvPicPr>
            <p:blipFill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45" y="1703"/>
                <a:ext cx="471" cy="2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8" name="Group 99"/>
            <p:cNvGrpSpPr>
              <a:grpSpLocks/>
            </p:cNvGrpSpPr>
            <p:nvPr/>
          </p:nvGrpSpPr>
          <p:grpSpPr bwMode="auto">
            <a:xfrm>
              <a:off x="539552" y="5075905"/>
              <a:ext cx="1412058" cy="495596"/>
              <a:chOff x="864" y="4989"/>
              <a:chExt cx="978" cy="369"/>
            </a:xfrm>
          </p:grpSpPr>
          <p:sp>
            <p:nvSpPr>
              <p:cNvPr id="52" name="Text Box 9"/>
              <p:cNvSpPr txBox="1">
                <a:spLocks noChangeArrowheads="1"/>
              </p:cNvSpPr>
              <p:nvPr/>
            </p:nvSpPr>
            <p:spPr bwMode="auto">
              <a:xfrm>
                <a:off x="1112" y="4989"/>
                <a:ext cx="586" cy="19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56108" tIns="28054" rIns="56108" bIns="28054">
                <a:spAutoFit/>
              </a:bodyPr>
              <a:lstStyle>
                <a:lvl1pPr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1pPr>
                <a:lvl2pPr marL="280988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560388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841375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1122363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15795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0367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24939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29511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r>
                  <a:rPr lang="en-GB" sz="1100" b="1" dirty="0">
                    <a:solidFill>
                      <a:srgbClr val="FFFFFF"/>
                    </a:solidFill>
                  </a:rPr>
                  <a:t>Moorings</a:t>
                </a:r>
              </a:p>
            </p:txBody>
          </p:sp>
          <p:pic>
            <p:nvPicPr>
              <p:cNvPr id="53" name="Picture 40" descr="Itsaskorda"/>
              <p:cNvPicPr>
                <a:picLocks noChangeAspect="1" noChangeArrowheads="1"/>
              </p:cNvPicPr>
              <p:nvPr/>
            </p:nvPicPr>
            <p:blipFill>
              <a:blip r:embed="rId1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54" y="5205"/>
                <a:ext cx="388" cy="15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4" name="Picture 76" descr="VICINAY"/>
              <p:cNvPicPr>
                <a:picLocks noChangeAspect="1" noChangeArrowheads="1"/>
              </p:cNvPicPr>
              <p:nvPr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4" y="5205"/>
                <a:ext cx="545" cy="15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9" name="Group 83"/>
            <p:cNvGrpSpPr>
              <a:grpSpLocks/>
            </p:cNvGrpSpPr>
            <p:nvPr/>
          </p:nvGrpSpPr>
          <p:grpSpPr bwMode="auto">
            <a:xfrm>
              <a:off x="7596336" y="5016277"/>
              <a:ext cx="1059766" cy="1181911"/>
              <a:chOff x="7199" y="3759"/>
              <a:chExt cx="734" cy="880"/>
            </a:xfrm>
          </p:grpSpPr>
          <p:pic>
            <p:nvPicPr>
              <p:cNvPr id="49" name="Picture 66" descr="TECNALIA_COLOR"/>
              <p:cNvPicPr>
                <a:picLocks noChangeAspect="1" noChangeArrowheads="1"/>
              </p:cNvPicPr>
              <p:nvPr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12" y="4452"/>
                <a:ext cx="721" cy="18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0" name="Text Box 10"/>
              <p:cNvSpPr txBox="1">
                <a:spLocks noChangeArrowheads="1"/>
              </p:cNvSpPr>
              <p:nvPr/>
            </p:nvSpPr>
            <p:spPr bwMode="auto">
              <a:xfrm>
                <a:off x="7199" y="3759"/>
                <a:ext cx="732" cy="63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lIns="56108" tIns="28054" rIns="56108" bIns="28054">
                <a:spAutoFit/>
              </a:bodyPr>
              <a:lstStyle>
                <a:lvl1pPr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1pPr>
                <a:lvl2pPr marL="280988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560388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841375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1122363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15795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0367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24939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29511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algn="ctr"/>
                <a:r>
                  <a:rPr lang="en-GB" sz="1100" b="1" dirty="0">
                    <a:solidFill>
                      <a:schemeClr val="bg1"/>
                    </a:solidFill>
                  </a:rPr>
                  <a:t>Resource and meteorology</a:t>
                </a:r>
              </a:p>
            </p:txBody>
          </p:sp>
          <p:pic>
            <p:nvPicPr>
              <p:cNvPr id="51" name="Picture 19" descr="AZTI"/>
              <p:cNvPicPr>
                <a:picLocks noChangeAspect="1" noChangeArrowheads="1"/>
              </p:cNvPicPr>
              <p:nvPr/>
            </p:nvPicPr>
            <p:blipFill>
              <a:blip r:embed="rId1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62" y="4226"/>
                <a:ext cx="434" cy="1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0" name="Agrupar 41"/>
            <p:cNvGrpSpPr/>
            <p:nvPr/>
          </p:nvGrpSpPr>
          <p:grpSpPr>
            <a:xfrm>
              <a:off x="3635896" y="4535232"/>
              <a:ext cx="2816107" cy="387535"/>
              <a:chOff x="6156176" y="4843144"/>
              <a:chExt cx="3096344" cy="458064"/>
            </a:xfrm>
          </p:grpSpPr>
          <p:pic>
            <p:nvPicPr>
              <p:cNvPr id="44" name="Picture 2"/>
              <p:cNvPicPr>
                <a:picLocks noChangeAspect="1" noChangeArrowheads="1"/>
              </p:cNvPicPr>
              <p:nvPr/>
            </p:nvPicPr>
            <p:blipFill>
              <a:blip r:embed="rId1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48264" y="4846709"/>
                <a:ext cx="621068" cy="16290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45" name="Picture 3"/>
              <p:cNvPicPr>
                <a:picLocks noChangeAspect="1" noChangeArrowheads="1"/>
              </p:cNvPicPr>
              <p:nvPr/>
            </p:nvPicPr>
            <p:blipFill>
              <a:blip r:embed="rId2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00392" y="4855441"/>
                <a:ext cx="504056" cy="14543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46" name="Picture 4"/>
              <p:cNvPicPr>
                <a:picLocks noChangeAspect="1" noChangeArrowheads="1"/>
              </p:cNvPicPr>
              <p:nvPr/>
            </p:nvPicPr>
            <p:blipFill>
              <a:blip r:embed="rId2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56176" y="5146959"/>
                <a:ext cx="792088" cy="15424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47" name="Picture 5"/>
              <p:cNvPicPr>
                <a:picLocks noChangeAspect="1" noChangeArrowheads="1"/>
              </p:cNvPicPr>
              <p:nvPr/>
            </p:nvPicPr>
            <p:blipFill>
              <a:blip r:embed="rId2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596336" y="4843144"/>
                <a:ext cx="456401" cy="1700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48" name="Picture 6"/>
              <p:cNvPicPr>
                <a:picLocks noChangeAspect="1" noChangeArrowheads="1"/>
              </p:cNvPicPr>
              <p:nvPr/>
            </p:nvPicPr>
            <p:blipFill rotWithShape="1">
              <a:blip r:embed="rId2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8676456" y="4861338"/>
                <a:ext cx="576064" cy="13364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21" name="Agrupar 48"/>
            <p:cNvGrpSpPr/>
            <p:nvPr/>
          </p:nvGrpSpPr>
          <p:grpSpPr>
            <a:xfrm>
              <a:off x="7768692" y="3913634"/>
              <a:ext cx="1375308" cy="426447"/>
              <a:chOff x="5436096" y="4067780"/>
              <a:chExt cx="1584176" cy="504056"/>
            </a:xfrm>
          </p:grpSpPr>
          <p:pic>
            <p:nvPicPr>
              <p:cNvPr id="42" name="Imagen 49"/>
              <p:cNvPicPr>
                <a:picLocks noChangeAspect="1"/>
              </p:cNvPicPr>
              <p:nvPr/>
            </p:nvPicPr>
            <p:blipFill>
              <a:blip r:embed="rId2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875003" y="4355812"/>
                <a:ext cx="768084" cy="216024"/>
              </a:xfrm>
              <a:prstGeom prst="rect">
                <a:avLst/>
              </a:prstGeom>
            </p:spPr>
          </p:pic>
          <p:sp>
            <p:nvSpPr>
              <p:cNvPr id="43" name="CuadroTexto 50"/>
              <p:cNvSpPr txBox="1"/>
              <p:nvPr/>
            </p:nvSpPr>
            <p:spPr>
              <a:xfrm>
                <a:off x="5436096" y="4067780"/>
                <a:ext cx="1584176" cy="3708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200" b="1" dirty="0">
                    <a:solidFill>
                      <a:srgbClr val="FFFFFF"/>
                    </a:solidFill>
                  </a:rPr>
                  <a:t>Operations</a:t>
                </a:r>
              </a:p>
            </p:txBody>
          </p:sp>
        </p:grpSp>
        <p:grpSp>
          <p:nvGrpSpPr>
            <p:cNvPr id="22" name="Group 88"/>
            <p:cNvGrpSpPr>
              <a:grpSpLocks/>
            </p:cNvGrpSpPr>
            <p:nvPr/>
          </p:nvGrpSpPr>
          <p:grpSpPr bwMode="auto">
            <a:xfrm>
              <a:off x="6012150" y="5327320"/>
              <a:ext cx="1175270" cy="774953"/>
              <a:chOff x="5688" y="3629"/>
              <a:chExt cx="814" cy="577"/>
            </a:xfrm>
          </p:grpSpPr>
          <p:sp>
            <p:nvSpPr>
              <p:cNvPr id="37" name="Text Box 12"/>
              <p:cNvSpPr txBox="1">
                <a:spLocks noChangeArrowheads="1"/>
              </p:cNvSpPr>
              <p:nvPr/>
            </p:nvSpPr>
            <p:spPr bwMode="auto">
              <a:xfrm>
                <a:off x="5744" y="3629"/>
                <a:ext cx="758" cy="19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56108" tIns="28054" rIns="56108" bIns="28054">
                <a:spAutoFit/>
              </a:bodyPr>
              <a:lstStyle>
                <a:lvl1pPr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1pPr>
                <a:lvl2pPr marL="280988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560388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841375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1122363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15795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0367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24939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29511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r>
                  <a:rPr lang="en-GB" sz="1100" b="1" dirty="0">
                    <a:solidFill>
                      <a:srgbClr val="FFFFFF"/>
                    </a:solidFill>
                  </a:rPr>
                  <a:t>Maintenance</a:t>
                </a:r>
              </a:p>
            </p:txBody>
          </p:sp>
          <p:pic>
            <p:nvPicPr>
              <p:cNvPr id="38" name="Picture 41" descr="GES"/>
              <p:cNvPicPr>
                <a:picLocks noChangeAspect="1" noChangeArrowheads="1"/>
              </p:cNvPicPr>
              <p:nvPr/>
            </p:nvPicPr>
            <p:blipFill>
              <a:blip r:embed="rId2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10" y="3795"/>
                <a:ext cx="380" cy="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9" name="Picture 42" descr="tamoin"/>
              <p:cNvPicPr>
                <a:picLocks noChangeAspect="1" noChangeArrowheads="1"/>
              </p:cNvPicPr>
              <p:nvPr/>
            </p:nvPicPr>
            <p:blipFill>
              <a:blip r:embed="rId2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09" y="3977"/>
                <a:ext cx="253" cy="22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0" name="Picture 56" descr="nem-solutions"/>
              <p:cNvPicPr>
                <a:picLocks noChangeAspect="1" noChangeArrowheads="1"/>
              </p:cNvPicPr>
              <p:nvPr/>
            </p:nvPicPr>
            <p:blipFill>
              <a:blip r:embed="rId2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88" y="4032"/>
                <a:ext cx="462" cy="15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" name="Picture 87" descr="Asaken"/>
              <p:cNvPicPr>
                <a:picLocks noChangeAspect="1" noChangeArrowheads="1"/>
              </p:cNvPicPr>
              <p:nvPr/>
            </p:nvPicPr>
            <p:blipFill>
              <a:blip r:embed="rId2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19" y="3795"/>
                <a:ext cx="363" cy="13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3" name="Agrupar 57"/>
            <p:cNvGrpSpPr/>
            <p:nvPr/>
          </p:nvGrpSpPr>
          <p:grpSpPr>
            <a:xfrm>
              <a:off x="2483768" y="5759368"/>
              <a:ext cx="1440799" cy="487367"/>
              <a:chOff x="1297326" y="2103994"/>
              <a:chExt cx="1584176" cy="576064"/>
            </a:xfrm>
          </p:grpSpPr>
          <p:sp>
            <p:nvSpPr>
              <p:cNvPr id="35" name="CuadroTexto 58"/>
              <p:cNvSpPr txBox="1"/>
              <p:nvPr/>
            </p:nvSpPr>
            <p:spPr>
              <a:xfrm>
                <a:off x="1297326" y="2103994"/>
                <a:ext cx="1584176" cy="3708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200" b="1" dirty="0">
                    <a:solidFill>
                      <a:srgbClr val="FFFFFF"/>
                    </a:solidFill>
                  </a:rPr>
                  <a:t>Subsea cable</a:t>
                </a:r>
              </a:p>
            </p:txBody>
          </p:sp>
          <p:pic>
            <p:nvPicPr>
              <p:cNvPr id="36" name="Imagen 59"/>
              <p:cNvPicPr>
                <a:picLocks noChangeAspect="1"/>
              </p:cNvPicPr>
              <p:nvPr/>
            </p:nvPicPr>
            <p:blipFill>
              <a:blip r:embed="rId2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657366" y="2392026"/>
                <a:ext cx="768085" cy="288032"/>
              </a:xfrm>
              <a:prstGeom prst="rect">
                <a:avLst/>
              </a:prstGeom>
            </p:spPr>
          </p:pic>
        </p:grpSp>
        <p:grpSp>
          <p:nvGrpSpPr>
            <p:cNvPr id="24" name="Group 90"/>
            <p:cNvGrpSpPr>
              <a:grpSpLocks/>
            </p:cNvGrpSpPr>
            <p:nvPr/>
          </p:nvGrpSpPr>
          <p:grpSpPr bwMode="auto">
            <a:xfrm>
              <a:off x="6686584" y="2017510"/>
              <a:ext cx="1918271" cy="751067"/>
              <a:chOff x="244" y="995"/>
              <a:chExt cx="1890" cy="791"/>
            </a:xfrm>
          </p:grpSpPr>
          <p:sp>
            <p:nvSpPr>
              <p:cNvPr id="28" name="Text Box 15"/>
              <p:cNvSpPr txBox="1">
                <a:spLocks noChangeArrowheads="1"/>
              </p:cNvSpPr>
              <p:nvPr/>
            </p:nvSpPr>
            <p:spPr bwMode="auto">
              <a:xfrm>
                <a:off x="244" y="995"/>
                <a:ext cx="1890" cy="25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56108" tIns="28054" rIns="56108" bIns="28054">
                <a:spAutoFit/>
              </a:bodyPr>
              <a:lstStyle>
                <a:lvl1pPr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1pPr>
                <a:lvl2pPr marL="280988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560388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841375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1122363" defTabSz="1279525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15795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0367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24939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2951163" defTabSz="12795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r>
                  <a:rPr lang="en-GB" sz="1000" b="1" dirty="0">
                    <a:solidFill>
                      <a:srgbClr val="FFFFFF"/>
                    </a:solidFill>
                  </a:rPr>
                  <a:t>Park design and planning</a:t>
                </a:r>
              </a:p>
            </p:txBody>
          </p:sp>
          <p:pic>
            <p:nvPicPr>
              <p:cNvPr id="29" name="Picture 28" descr="Cobra"/>
              <p:cNvPicPr>
                <a:picLocks noChangeAspect="1" noChangeArrowheads="1"/>
              </p:cNvPicPr>
              <p:nvPr/>
            </p:nvPicPr>
            <p:blipFill>
              <a:blip r:embed="rId3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82" y="1325"/>
                <a:ext cx="516" cy="1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" name="Picture 29" descr="elecnor"/>
              <p:cNvPicPr>
                <a:picLocks noChangeAspect="1" noChangeArrowheads="1"/>
              </p:cNvPicPr>
              <p:nvPr/>
            </p:nvPicPr>
            <p:blipFill>
              <a:blip r:embed="rId3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05" y="1313"/>
                <a:ext cx="503" cy="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1" name="Picture 32" descr="guascor"/>
              <p:cNvPicPr>
                <a:picLocks noChangeAspect="1" noChangeArrowheads="1"/>
              </p:cNvPicPr>
              <p:nvPr/>
            </p:nvPicPr>
            <p:blipFill>
              <a:blip r:embed="rId3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5" y="1613"/>
                <a:ext cx="570" cy="17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2" name="Picture 33" descr="Idom"/>
              <p:cNvPicPr>
                <a:picLocks noChangeAspect="1" noChangeArrowheads="1"/>
              </p:cNvPicPr>
              <p:nvPr/>
            </p:nvPicPr>
            <p:blipFill>
              <a:blip r:embed="rId3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34" y="1570"/>
                <a:ext cx="465" cy="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3" name="Picture 34" descr="sener"/>
              <p:cNvPicPr>
                <a:picLocks noChangeAspect="1" noChangeArrowheads="1"/>
              </p:cNvPicPr>
              <p:nvPr/>
            </p:nvPicPr>
            <p:blipFill>
              <a:blip r:embed="rId3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0" y="1634"/>
                <a:ext cx="656" cy="1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4" name="Picture 74" descr="Iberdrola IC"/>
              <p:cNvPicPr>
                <a:picLocks noChangeAspect="1" noChangeArrowheads="1"/>
              </p:cNvPicPr>
              <p:nvPr/>
            </p:nvPicPr>
            <p:blipFill>
              <a:blip r:embed="rId3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6" y="1296"/>
                <a:ext cx="408" cy="2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pic>
        <p:nvPicPr>
          <p:cNvPr id="65" name="Picture 2" descr="wave energy basque country"/>
          <p:cNvPicPr>
            <a:picLocks noChangeAspect="1" noChangeArrowheads="1"/>
          </p:cNvPicPr>
          <p:nvPr/>
        </p:nvPicPr>
        <p:blipFill>
          <a:blip r:embed="rId36"/>
          <a:srcRect/>
          <a:stretch>
            <a:fillRect/>
          </a:stretch>
        </p:blipFill>
        <p:spPr bwMode="auto">
          <a:xfrm>
            <a:off x="359807" y="764508"/>
            <a:ext cx="2477419" cy="720000"/>
          </a:xfrm>
          <a:prstGeom prst="rect">
            <a:avLst/>
          </a:prstGeom>
          <a:noFill/>
        </p:spPr>
      </p:pic>
      <p:pic>
        <p:nvPicPr>
          <p:cNvPr id="66" name="Imagen 65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6182" y="117175"/>
            <a:ext cx="1386327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82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4705"/>
            <a:ext cx="9144000" cy="6012614"/>
          </a:xfrm>
          <a:prstGeom prst="rect">
            <a:avLst/>
          </a:prstGeom>
        </p:spPr>
      </p:pic>
      <p:sp>
        <p:nvSpPr>
          <p:cNvPr id="7" name="2 Marcador de contenido"/>
          <p:cNvSpPr txBox="1">
            <a:spLocks/>
          </p:cNvSpPr>
          <p:nvPr/>
        </p:nvSpPr>
        <p:spPr bwMode="auto">
          <a:xfrm>
            <a:off x="319245" y="1268783"/>
            <a:ext cx="8680376" cy="3465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spAutoFit/>
          </a:bodyPr>
          <a:lstStyle/>
          <a:p>
            <a:pPr algn="just" defTabSz="914231" eaLnBrk="0" hangingPunct="0">
              <a:spcBef>
                <a:spcPts val="564"/>
              </a:spcBef>
              <a:spcAft>
                <a:spcPts val="0"/>
              </a:spcAft>
              <a:buClr>
                <a:srgbClr val="000000"/>
              </a:buClr>
            </a:pPr>
            <a:r>
              <a:rPr lang="es-ES" sz="2400" b="1" kern="0" dirty="0">
                <a:solidFill>
                  <a:schemeClr val="accent6">
                    <a:lumMod val="25000"/>
                  </a:schemeClr>
                </a:solidFill>
                <a:latin typeface="Lato" panose="020F0502020204030203" pitchFamily="34" charset="0"/>
                <a:cs typeface="Latha" panose="020B0604020202020204" pitchFamily="34" charset="0"/>
              </a:rPr>
              <a:t>¿Qué queremos hacer?</a:t>
            </a:r>
          </a:p>
          <a:p>
            <a:pPr algn="just" defTabSz="914231" eaLnBrk="0" hangingPunct="0">
              <a:spcBef>
                <a:spcPts val="0"/>
              </a:spcBef>
              <a:spcAft>
                <a:spcPts val="564"/>
              </a:spcAft>
              <a:buClr>
                <a:srgbClr val="000000"/>
              </a:buClr>
            </a:pPr>
            <a:r>
              <a:rPr lang="es-ES" sz="20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Arial" pitchFamily="34" charset="0"/>
              </a:rPr>
              <a:t>Desarrollar un dispositivo experimental para el aprovechamiento de la energía de las olas en mar abierto</a:t>
            </a:r>
            <a:endParaRPr lang="es-ES" sz="2000" b="1" kern="0" dirty="0">
              <a:solidFill>
                <a:schemeClr val="accent6">
                  <a:lumMod val="25000"/>
                </a:schemeClr>
              </a:solidFill>
              <a:latin typeface="Lato" panose="020F0502020204030203" pitchFamily="34" charset="0"/>
              <a:cs typeface="Latha" panose="020B0604020202020204" pitchFamily="34" charset="0"/>
            </a:endParaRPr>
          </a:p>
          <a:p>
            <a:pPr algn="just" defTabSz="914231" eaLnBrk="0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s-ES" sz="2400" b="1" kern="0" dirty="0">
                <a:solidFill>
                  <a:schemeClr val="accent6">
                    <a:lumMod val="25000"/>
                  </a:schemeClr>
                </a:solidFill>
                <a:latin typeface="Lato" panose="020F0502020204030203" pitchFamily="34" charset="0"/>
                <a:cs typeface="Latha" panose="020B0604020202020204" pitchFamily="34" charset="0"/>
              </a:rPr>
              <a:t>¿Cuál es el objetivo básico del proyecto?</a:t>
            </a:r>
          </a:p>
          <a:p>
            <a:pPr algn="just" defTabSz="914231" eaLnBrk="0" hangingPunct="0"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</a:pPr>
            <a:r>
              <a:rPr lang="es-ES" sz="2000" kern="0" dirty="0">
                <a:solidFill>
                  <a:schemeClr val="accent6">
                    <a:lumMod val="25000"/>
                  </a:schemeClr>
                </a:solidFill>
                <a:latin typeface="Lato" panose="020F0502020204030203" pitchFamily="34" charset="0"/>
                <a:cs typeface="Latha" panose="020B0604020202020204" pitchFamily="34" charset="0"/>
              </a:rPr>
              <a:t>Avanzar en el desarrollo tecnológico, pasar de un TRL 4-5 (validación de componentes en entorno laboratorio) a un TRL 6-7 (demostración de prototipo en entorno real)</a:t>
            </a:r>
          </a:p>
          <a:p>
            <a:pPr marL="722313" indent="-366713" algn="just" defTabSz="914231" eaLnBrk="0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Wingdings" panose="05000000000000000000" pitchFamily="2" charset="2"/>
              <a:buChar char="Ø"/>
            </a:pPr>
            <a:r>
              <a:rPr lang="es-ES" sz="2000" kern="0" dirty="0">
                <a:solidFill>
                  <a:schemeClr val="accent6">
                    <a:lumMod val="25000"/>
                  </a:schemeClr>
                </a:solidFill>
                <a:latin typeface="Lato" panose="020F0502020204030203" pitchFamily="34" charset="0"/>
                <a:cs typeface="Latha" panose="020B0604020202020204" pitchFamily="34" charset="0"/>
              </a:rPr>
              <a:t>Disponer del conocimiento</a:t>
            </a:r>
          </a:p>
          <a:p>
            <a:pPr marL="722313" indent="-366713" algn="just" defTabSz="914231" eaLnBrk="0" hangingPunct="0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</a:pPr>
            <a:r>
              <a:rPr lang="es-ES" sz="2000" kern="0" dirty="0">
                <a:solidFill>
                  <a:schemeClr val="accent6">
                    <a:lumMod val="25000"/>
                  </a:schemeClr>
                </a:solidFill>
                <a:latin typeface="Lato" panose="020F0502020204030203" pitchFamily="34" charset="0"/>
                <a:cs typeface="Latha" panose="020B0604020202020204" pitchFamily="34" charset="0"/>
              </a:rPr>
              <a:t>No es relevante el dispositivo como tal</a:t>
            </a:r>
          </a:p>
          <a:p>
            <a:pPr algn="just" defTabSz="914231" eaLnBrk="0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s-ES" sz="2000" kern="0" dirty="0">
              <a:solidFill>
                <a:schemeClr val="accent6">
                  <a:lumMod val="25000"/>
                </a:schemeClr>
              </a:solidFill>
              <a:latin typeface="Lato" panose="020F0502020204030203" pitchFamily="34" charset="0"/>
              <a:cs typeface="Latha" panose="020B0604020202020204" pitchFamily="34" charset="0"/>
            </a:endParaRPr>
          </a:p>
        </p:txBody>
      </p:sp>
      <p:sp>
        <p:nvSpPr>
          <p:cNvPr id="5" name="Marcador de texto 2"/>
          <p:cNvSpPr txBox="1">
            <a:spLocks/>
          </p:cNvSpPr>
          <p:nvPr/>
        </p:nvSpPr>
        <p:spPr>
          <a:xfrm>
            <a:off x="396248" y="3286"/>
            <a:ext cx="5486967" cy="761418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defTabSz="914231" fontAlgn="auto">
              <a:spcBef>
                <a:spcPts val="2399"/>
              </a:spcBef>
              <a:spcAft>
                <a:spcPts val="0"/>
              </a:spcAft>
              <a:buSzPct val="90000"/>
              <a:defRPr/>
            </a:pPr>
            <a:r>
              <a:rPr lang="es-ES" sz="2800" b="1" i="1" dirty="0">
                <a:solidFill>
                  <a:srgbClr val="033E7E"/>
                </a:solidFill>
                <a:latin typeface="Lato" pitchFamily="34" charset="0"/>
                <a:ea typeface="+mn-ea"/>
                <a:cs typeface="Univers 45 Light"/>
              </a:rPr>
              <a:t>COMPRA PÚBLICA PRECOMERCIAL</a:t>
            </a:r>
          </a:p>
        </p:txBody>
      </p:sp>
      <p:sp>
        <p:nvSpPr>
          <p:cNvPr id="6" name="11 CuadroTexto"/>
          <p:cNvSpPr txBox="1">
            <a:spLocks noChangeArrowheads="1"/>
          </p:cNvSpPr>
          <p:nvPr/>
        </p:nvSpPr>
        <p:spPr bwMode="auto">
          <a:xfrm>
            <a:off x="153999" y="6299726"/>
            <a:ext cx="5188021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lvl="1" algn="just" fontAlgn="auto">
              <a:spcBef>
                <a:spcPts val="600"/>
              </a:spcBef>
              <a:spcAft>
                <a:spcPts val="0"/>
              </a:spcAft>
              <a:buClr>
                <a:srgbClr val="141313">
                  <a:lumMod val="50000"/>
                  <a:lumOff val="50000"/>
                </a:srgbClr>
              </a:buClr>
              <a:buSzPct val="90000"/>
              <a:defRPr/>
            </a:pP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TRL: </a:t>
            </a:r>
            <a:r>
              <a:rPr lang="es-ES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Technology</a:t>
            </a: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 </a:t>
            </a:r>
            <a:r>
              <a:rPr lang="es-ES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Readiness</a:t>
            </a: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 </a:t>
            </a:r>
            <a:r>
              <a:rPr lang="es-ES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Level</a:t>
            </a: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 (TRL 1 – TRL 9)</a:t>
            </a:r>
          </a:p>
          <a:p>
            <a:pPr marL="342900" indent="-342900" algn="just">
              <a:spcAft>
                <a:spcPct val="20000"/>
              </a:spcAft>
              <a:buClr>
                <a:srgbClr val="92D050"/>
              </a:buClr>
              <a:buFont typeface="Wingdings" pitchFamily="2" charset="2"/>
              <a:buChar char="§"/>
              <a:defRPr/>
            </a:pPr>
            <a:endParaRPr lang="es-ES" sz="1600" dirty="0">
              <a:solidFill>
                <a:schemeClr val="tx1">
                  <a:lumMod val="90000"/>
                  <a:lumOff val="10000"/>
                </a:schemeClr>
              </a:solidFill>
              <a:latin typeface="Lato" pitchFamily="34" charset="0"/>
              <a:cs typeface="Arial" pitchFamily="34" charset="0"/>
            </a:endParaRPr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609" y="129127"/>
            <a:ext cx="1386327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43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4705"/>
            <a:ext cx="9144000" cy="6012614"/>
          </a:xfrm>
          <a:prstGeom prst="rect">
            <a:avLst/>
          </a:prstGeom>
        </p:spPr>
      </p:pic>
      <p:sp>
        <p:nvSpPr>
          <p:cNvPr id="7" name="2 Marcador de contenido"/>
          <p:cNvSpPr txBox="1">
            <a:spLocks/>
          </p:cNvSpPr>
          <p:nvPr/>
        </p:nvSpPr>
        <p:spPr bwMode="auto">
          <a:xfrm>
            <a:off x="319245" y="1268783"/>
            <a:ext cx="8680376" cy="4943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spAutoFit/>
          </a:bodyPr>
          <a:lstStyle/>
          <a:p>
            <a:pPr algn="just" defTabSz="914231" eaLnBrk="0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s-ES" sz="2400" b="1" kern="0" dirty="0">
                <a:solidFill>
                  <a:schemeClr val="accent6">
                    <a:lumMod val="25000"/>
                  </a:schemeClr>
                </a:solidFill>
                <a:latin typeface="Lato" panose="020F0502020204030203" pitchFamily="34" charset="0"/>
                <a:cs typeface="Latha" panose="020B0604020202020204" pitchFamily="34" charset="0"/>
              </a:rPr>
              <a:t>¿Qué tipo de licitación utilizamos?</a:t>
            </a:r>
          </a:p>
          <a:p>
            <a:pPr algn="just" defTabSz="914231" eaLnBrk="0" hangingPunct="0"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</a:pPr>
            <a:r>
              <a:rPr lang="es-ES" sz="20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Arial" pitchFamily="34" charset="0"/>
              </a:rPr>
              <a:t>Compra Pública </a:t>
            </a:r>
            <a:r>
              <a:rPr lang="es-ES" sz="20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Arial" pitchFamily="34" charset="0"/>
              </a:rPr>
              <a:t>Precomercial</a:t>
            </a:r>
            <a:endParaRPr lang="es-ES" sz="2000" dirty="0">
              <a:solidFill>
                <a:schemeClr val="tx1">
                  <a:lumMod val="90000"/>
                  <a:lumOff val="10000"/>
                </a:schemeClr>
              </a:solidFill>
              <a:latin typeface="Lato" pitchFamily="34" charset="0"/>
              <a:cs typeface="Arial" pitchFamily="34" charset="0"/>
            </a:endParaRPr>
          </a:p>
          <a:p>
            <a:pPr marL="722313" indent="-366713" algn="just" defTabSz="914231" eaLnBrk="0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Wingdings" panose="05000000000000000000" pitchFamily="2" charset="2"/>
              <a:buChar char="Ø"/>
            </a:pPr>
            <a:r>
              <a:rPr lang="es-ES" sz="2000" kern="0" dirty="0">
                <a:solidFill>
                  <a:schemeClr val="accent6">
                    <a:lumMod val="25000"/>
                  </a:schemeClr>
                </a:solidFill>
                <a:latin typeface="Lato" panose="020F0502020204030203" pitchFamily="34" charset="0"/>
                <a:cs typeface="Latha" panose="020B0604020202020204" pitchFamily="34" charset="0"/>
              </a:rPr>
              <a:t>Firma contrato:  noviembre 2015</a:t>
            </a:r>
          </a:p>
          <a:p>
            <a:pPr marL="722313" indent="-366713" algn="just" defTabSz="914231" eaLnBrk="0" hangingPunct="0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</a:pPr>
            <a:r>
              <a:rPr lang="es-ES" sz="2000" kern="0" dirty="0">
                <a:solidFill>
                  <a:schemeClr val="accent6">
                    <a:lumMod val="25000"/>
                  </a:schemeClr>
                </a:solidFill>
                <a:latin typeface="Lato" panose="020F0502020204030203" pitchFamily="34" charset="0"/>
                <a:cs typeface="Latha" panose="020B0604020202020204" pitchFamily="34" charset="0"/>
              </a:rPr>
              <a:t>Presupuesto:  2,5 M€ (aportación tecnólogo mínima 20%)</a:t>
            </a:r>
          </a:p>
          <a:p>
            <a:pPr marL="722313" indent="-366713" algn="just" defTabSz="914231" eaLnBrk="0" hangingPunct="0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</a:pPr>
            <a:r>
              <a:rPr lang="es-ES" sz="2000" kern="0" dirty="0">
                <a:solidFill>
                  <a:schemeClr val="accent6">
                    <a:lumMod val="25000"/>
                  </a:schemeClr>
                </a:solidFill>
                <a:latin typeface="Lato" panose="020F0502020204030203" pitchFamily="34" charset="0"/>
                <a:cs typeface="Latha" panose="020B0604020202020204" pitchFamily="34" charset="0"/>
              </a:rPr>
              <a:t>Licitación en dos fases:</a:t>
            </a:r>
          </a:p>
          <a:p>
            <a:pPr marL="1179429" lvl="1" indent="-366713" algn="just" defTabSz="914231" eaLnBrk="0" hangingPunct="0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ü"/>
            </a:pPr>
            <a:r>
              <a:rPr lang="es-ES" sz="2000" kern="0" dirty="0">
                <a:solidFill>
                  <a:schemeClr val="accent6">
                    <a:lumMod val="25000"/>
                  </a:schemeClr>
                </a:solidFill>
                <a:latin typeface="Lato" panose="020F0502020204030203" pitchFamily="34" charset="0"/>
                <a:cs typeface="Latha" panose="020B0604020202020204" pitchFamily="34" charset="0"/>
              </a:rPr>
              <a:t>Fase I: mostrar el recorrido hasta el TRL4-5</a:t>
            </a:r>
          </a:p>
          <a:p>
            <a:pPr marL="1179429" lvl="1" indent="-366713" algn="just" defTabSz="914231" eaLnBrk="0" hangingPunct="0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ü"/>
            </a:pPr>
            <a:r>
              <a:rPr lang="es-ES" sz="2000" kern="0" dirty="0">
                <a:solidFill>
                  <a:schemeClr val="accent6">
                    <a:lumMod val="25000"/>
                  </a:schemeClr>
                </a:solidFill>
                <a:latin typeface="Lato" panose="020F0502020204030203" pitchFamily="34" charset="0"/>
                <a:cs typeface="Latha" panose="020B0604020202020204" pitchFamily="34" charset="0"/>
              </a:rPr>
              <a:t>Fase II: mostrar la planificación propuesta para alcanzar el TRL6-7</a:t>
            </a:r>
          </a:p>
          <a:p>
            <a:pPr marL="722313" indent="-366713" algn="just" defTabSz="914231" eaLnBrk="0" hangingPunct="0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</a:pPr>
            <a:r>
              <a:rPr lang="es-ES" sz="2000" kern="0" dirty="0">
                <a:solidFill>
                  <a:schemeClr val="accent6">
                    <a:lumMod val="25000"/>
                  </a:schemeClr>
                </a:solidFill>
                <a:latin typeface="Lato" panose="020F0502020204030203" pitchFamily="34" charset="0"/>
                <a:cs typeface="Latha" panose="020B0604020202020204" pitchFamily="34" charset="0"/>
              </a:rPr>
              <a:t>En ambas fases hay oferta económica, en Fase II sólo se puede igualar o mejorar la oferta de la Fase I </a:t>
            </a:r>
          </a:p>
          <a:p>
            <a:pPr marL="722313" indent="-366713" algn="just" defTabSz="914231" eaLnBrk="0" hangingPunct="0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</a:pPr>
            <a:endParaRPr lang="es-ES" sz="2000" kern="0" dirty="0">
              <a:solidFill>
                <a:schemeClr val="accent6">
                  <a:lumMod val="25000"/>
                </a:schemeClr>
              </a:solidFill>
              <a:latin typeface="Lato" panose="020F0502020204030203" pitchFamily="34" charset="0"/>
              <a:cs typeface="Latha" panose="020B0604020202020204" pitchFamily="34" charset="0"/>
            </a:endParaRPr>
          </a:p>
          <a:p>
            <a:pPr marL="722313" indent="-366713" algn="just" defTabSz="914231" eaLnBrk="0" hangingPunct="0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</a:pPr>
            <a:r>
              <a:rPr lang="es-ES" sz="2000" kern="0" dirty="0">
                <a:solidFill>
                  <a:schemeClr val="accent6">
                    <a:lumMod val="25000"/>
                  </a:schemeClr>
                </a:solidFill>
                <a:latin typeface="Lato" panose="020F0502020204030203" pitchFamily="34" charset="0"/>
                <a:cs typeface="Latha" panose="020B0604020202020204" pitchFamily="34" charset="0"/>
              </a:rPr>
              <a:t>El objeto de la compra es la I+D necesaria para disponer del conocimiento necesario para construir, instalar y operar el que pueda ser un primer prototipo comercial, evolución del </a:t>
            </a:r>
            <a:r>
              <a:rPr lang="es-ES" sz="2000" kern="0">
                <a:solidFill>
                  <a:schemeClr val="accent6">
                    <a:lumMod val="25000"/>
                  </a:schemeClr>
                </a:solidFill>
                <a:latin typeface="Lato" panose="020F0502020204030203" pitchFamily="34" charset="0"/>
                <a:cs typeface="Latha" panose="020B0604020202020204" pitchFamily="34" charset="0"/>
              </a:rPr>
              <a:t>ensayado bajo esta CPP</a:t>
            </a:r>
            <a:endParaRPr lang="es-ES" sz="2000" kern="0" dirty="0">
              <a:solidFill>
                <a:schemeClr val="accent6">
                  <a:lumMod val="25000"/>
                </a:schemeClr>
              </a:solidFill>
              <a:latin typeface="Lato" panose="020F0502020204030203" pitchFamily="34" charset="0"/>
              <a:cs typeface="Latha" panose="020B0604020202020204" pitchFamily="34" charset="0"/>
            </a:endParaRPr>
          </a:p>
        </p:txBody>
      </p:sp>
      <p:sp>
        <p:nvSpPr>
          <p:cNvPr id="5" name="Marcador de texto 2"/>
          <p:cNvSpPr txBox="1">
            <a:spLocks/>
          </p:cNvSpPr>
          <p:nvPr/>
        </p:nvSpPr>
        <p:spPr>
          <a:xfrm>
            <a:off x="396248" y="3286"/>
            <a:ext cx="5486967" cy="761418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defTabSz="914231" fontAlgn="auto">
              <a:spcBef>
                <a:spcPts val="2399"/>
              </a:spcBef>
              <a:spcAft>
                <a:spcPts val="0"/>
              </a:spcAft>
              <a:buSzPct val="90000"/>
              <a:defRPr/>
            </a:pPr>
            <a:r>
              <a:rPr lang="es-ES" sz="2800" b="1" i="1" dirty="0">
                <a:solidFill>
                  <a:srgbClr val="033E7E"/>
                </a:solidFill>
                <a:latin typeface="Lato" pitchFamily="34" charset="0"/>
                <a:ea typeface="+mn-ea"/>
                <a:cs typeface="Univers 45 Light"/>
              </a:rPr>
              <a:t>COMPRA PÚBLICA PRECOMERCIAL</a:t>
            </a:r>
          </a:p>
        </p:txBody>
      </p:sp>
      <p:sp>
        <p:nvSpPr>
          <p:cNvPr id="6" name="11 CuadroTexto"/>
          <p:cNvSpPr txBox="1">
            <a:spLocks noChangeArrowheads="1"/>
          </p:cNvSpPr>
          <p:nvPr/>
        </p:nvSpPr>
        <p:spPr bwMode="auto">
          <a:xfrm>
            <a:off x="153999" y="6299726"/>
            <a:ext cx="5188021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lvl="1" algn="just" fontAlgn="auto">
              <a:spcBef>
                <a:spcPts val="600"/>
              </a:spcBef>
              <a:spcAft>
                <a:spcPts val="0"/>
              </a:spcAft>
              <a:buClr>
                <a:srgbClr val="141313">
                  <a:lumMod val="50000"/>
                  <a:lumOff val="50000"/>
                </a:srgbClr>
              </a:buClr>
              <a:buSzPct val="90000"/>
              <a:defRPr/>
            </a:pP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TRL: </a:t>
            </a:r>
            <a:r>
              <a:rPr lang="es-ES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Technology</a:t>
            </a: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 </a:t>
            </a:r>
            <a:r>
              <a:rPr lang="es-ES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Readiness</a:t>
            </a: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 </a:t>
            </a:r>
            <a:r>
              <a:rPr lang="es-ES" sz="16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Level</a:t>
            </a:r>
            <a:r>
              <a:rPr lang="es-ES" sz="16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 (TRL 1 – TRL 9)</a:t>
            </a:r>
          </a:p>
          <a:p>
            <a:pPr marL="342900" indent="-342900" algn="just">
              <a:spcAft>
                <a:spcPct val="20000"/>
              </a:spcAft>
              <a:buClr>
                <a:srgbClr val="92D050"/>
              </a:buClr>
              <a:buFont typeface="Wingdings" pitchFamily="2" charset="2"/>
              <a:buChar char="§"/>
              <a:defRPr/>
            </a:pPr>
            <a:endParaRPr lang="es-ES" sz="1600" dirty="0">
              <a:solidFill>
                <a:schemeClr val="tx1">
                  <a:lumMod val="90000"/>
                  <a:lumOff val="10000"/>
                </a:schemeClr>
              </a:solidFill>
              <a:latin typeface="Lato" pitchFamily="34" charset="0"/>
              <a:cs typeface="Arial" pitchFamily="34" charset="0"/>
            </a:endParaRPr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609" y="129127"/>
            <a:ext cx="1386327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047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4705"/>
            <a:ext cx="9144000" cy="6012614"/>
          </a:xfrm>
          <a:prstGeom prst="rect">
            <a:avLst/>
          </a:prstGeom>
        </p:spPr>
      </p:pic>
      <p:sp>
        <p:nvSpPr>
          <p:cNvPr id="4" name="CuadroTexto 30"/>
          <p:cNvSpPr txBox="1"/>
          <p:nvPr/>
        </p:nvSpPr>
        <p:spPr>
          <a:xfrm>
            <a:off x="265815" y="978205"/>
            <a:ext cx="61987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46088" indent="-446088"/>
            <a:r>
              <a:rPr lang="es-ES" sz="2400" b="1" u="sng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MARMOK-A-5</a:t>
            </a:r>
            <a:endParaRPr lang="es-ES" sz="2400" b="1" dirty="0">
              <a:solidFill>
                <a:schemeClr val="tx1">
                  <a:lumMod val="90000"/>
                  <a:lumOff val="10000"/>
                </a:schemeClr>
              </a:solidFill>
              <a:latin typeface="Lato" pitchFamily="34" charset="0"/>
              <a:cs typeface="Univers 55"/>
            </a:endParaRPr>
          </a:p>
        </p:txBody>
      </p:sp>
      <p:pic>
        <p:nvPicPr>
          <p:cNvPr id="5" name="Picture 2" descr="012c88da-5574-4675-8c0d-df5ecbe8dcd9@eurprd0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868584" y="3771012"/>
            <a:ext cx="3978831" cy="2984123"/>
          </a:xfrm>
          <a:prstGeom prst="rect">
            <a:avLst/>
          </a:prstGeom>
          <a:noFill/>
          <a:effectLst>
            <a:softEdge rad="127000"/>
          </a:effectLst>
        </p:spPr>
      </p:pic>
      <p:sp>
        <p:nvSpPr>
          <p:cNvPr id="7" name="2 Marcador de contenido"/>
          <p:cNvSpPr txBox="1">
            <a:spLocks/>
          </p:cNvSpPr>
          <p:nvPr/>
        </p:nvSpPr>
        <p:spPr>
          <a:xfrm>
            <a:off x="243847" y="1509833"/>
            <a:ext cx="8400423" cy="2050113"/>
          </a:xfrm>
          <a:prstGeom prst="rect">
            <a:avLst/>
          </a:prstGeom>
        </p:spPr>
        <p:txBody>
          <a:bodyPr/>
          <a:lstStyle/>
          <a:p>
            <a:pPr marL="0" lvl="1" algn="just" defTabSz="914400" fontAlgn="auto">
              <a:spcBef>
                <a:spcPct val="20000"/>
              </a:spcBef>
              <a:spcAft>
                <a:spcPts val="600"/>
              </a:spcAft>
              <a:buClr>
                <a:schemeClr val="tx2"/>
              </a:buClr>
              <a:buSzPct val="80000"/>
              <a:defRPr/>
            </a:pPr>
            <a:r>
              <a:rPr lang="es-ES" sz="20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Arial" pitchFamily="34" charset="0"/>
              </a:rPr>
              <a:t>Captador experimental de tecnología OWC para el aprovechamiento de la energía de las olas en mar abierto (TRL 6-7).</a:t>
            </a:r>
          </a:p>
          <a:p>
            <a:pPr marL="360363" lvl="1" indent="-184150" algn="just" fontAlgn="auto">
              <a:spcBef>
                <a:spcPts val="600"/>
              </a:spcBef>
              <a:spcAft>
                <a:spcPts val="0"/>
              </a:spcAft>
              <a:buClr>
                <a:srgbClr val="141313">
                  <a:lumMod val="50000"/>
                  <a:lumOff val="50000"/>
                </a:srgbClr>
              </a:buClr>
              <a:buSzPct val="90000"/>
              <a:buFont typeface="Wingdings" pitchFamily="2" charset="2"/>
              <a:buChar char="§"/>
              <a:defRPr/>
            </a:pPr>
            <a:r>
              <a:rPr lang="es-ES" sz="20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Fabricación del captador (2016)</a:t>
            </a:r>
          </a:p>
          <a:p>
            <a:pPr marL="360363" lvl="1" indent="-184150" algn="just" fontAlgn="auto">
              <a:spcBef>
                <a:spcPts val="600"/>
              </a:spcBef>
              <a:spcAft>
                <a:spcPts val="0"/>
              </a:spcAft>
              <a:buClr>
                <a:srgbClr val="141313">
                  <a:lumMod val="50000"/>
                  <a:lumOff val="50000"/>
                </a:srgbClr>
              </a:buClr>
              <a:buSzPct val="90000"/>
              <a:buFont typeface="Wingdings" pitchFamily="2" charset="2"/>
              <a:buChar char="§"/>
              <a:defRPr/>
            </a:pPr>
            <a:r>
              <a:rPr lang="es-ES" sz="20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Ensayo de turbinas y sistemas de control en </a:t>
            </a:r>
            <a:r>
              <a:rPr lang="es-ES" sz="20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Mutriku</a:t>
            </a:r>
            <a:r>
              <a:rPr lang="es-ES" sz="20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 (2016)</a:t>
            </a:r>
          </a:p>
          <a:p>
            <a:pPr marL="360363" lvl="1" indent="-184150" algn="just" fontAlgn="auto">
              <a:spcBef>
                <a:spcPts val="600"/>
              </a:spcBef>
              <a:spcAft>
                <a:spcPts val="0"/>
              </a:spcAft>
              <a:buClr>
                <a:srgbClr val="141313">
                  <a:lumMod val="50000"/>
                  <a:lumOff val="50000"/>
                </a:srgbClr>
              </a:buClr>
              <a:buSzPct val="90000"/>
              <a:buFont typeface="Wingdings" pitchFamily="2" charset="2"/>
              <a:buChar char="§"/>
              <a:defRPr/>
            </a:pPr>
            <a:r>
              <a:rPr lang="es-ES" sz="20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Botadura y amarre en </a:t>
            </a:r>
            <a:r>
              <a:rPr lang="es-ES" sz="20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BiMEP</a:t>
            </a:r>
            <a:r>
              <a:rPr lang="es-ES" sz="20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 (octubre 2016)</a:t>
            </a:r>
          </a:p>
          <a:p>
            <a:pPr marL="360363" lvl="1" indent="-184150" algn="just" fontAlgn="auto">
              <a:spcBef>
                <a:spcPts val="600"/>
              </a:spcBef>
              <a:spcAft>
                <a:spcPts val="0"/>
              </a:spcAft>
              <a:buClr>
                <a:srgbClr val="141313">
                  <a:lumMod val="50000"/>
                  <a:lumOff val="50000"/>
                </a:srgbClr>
              </a:buClr>
              <a:buSzPct val="90000"/>
              <a:buFont typeface="Wingdings" pitchFamily="2" charset="2"/>
              <a:buChar char="§"/>
              <a:defRPr/>
            </a:pPr>
            <a:r>
              <a:rPr lang="es-ES" sz="20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Ensayo global en </a:t>
            </a:r>
            <a:r>
              <a:rPr lang="es-ES" sz="200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BiMEP</a:t>
            </a:r>
            <a:r>
              <a:rPr lang="es-ES" sz="2000" dirty="0">
                <a:solidFill>
                  <a:schemeClr val="tx1">
                    <a:lumMod val="90000"/>
                    <a:lumOff val="10000"/>
                  </a:schemeClr>
                </a:solidFill>
                <a:latin typeface="Lato" pitchFamily="34" charset="0"/>
                <a:cs typeface="Univers 55"/>
              </a:rPr>
              <a:t> (2016-2017)</a:t>
            </a:r>
          </a:p>
        </p:txBody>
      </p:sp>
      <p:pic>
        <p:nvPicPr>
          <p:cNvPr id="10" name="Picture 2" descr="Imagen relacionada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425" y="3997498"/>
            <a:ext cx="4060575" cy="2702821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Marcador de texto 2"/>
          <p:cNvSpPr txBox="1">
            <a:spLocks/>
          </p:cNvSpPr>
          <p:nvPr/>
        </p:nvSpPr>
        <p:spPr>
          <a:xfrm>
            <a:off x="396248" y="3286"/>
            <a:ext cx="5486967" cy="761418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defTabSz="914231" fontAlgn="auto">
              <a:spcBef>
                <a:spcPts val="2399"/>
              </a:spcBef>
              <a:spcAft>
                <a:spcPts val="0"/>
              </a:spcAft>
              <a:buSzPct val="90000"/>
              <a:defRPr/>
            </a:pPr>
            <a:r>
              <a:rPr lang="es-ES" sz="2800" b="1" i="1" dirty="0">
                <a:solidFill>
                  <a:srgbClr val="033E7E"/>
                </a:solidFill>
                <a:latin typeface="Lato" pitchFamily="34" charset="0"/>
                <a:ea typeface="+mn-ea"/>
                <a:cs typeface="Univers 45 Light"/>
              </a:rPr>
              <a:t>EL DISPOSITIVO</a:t>
            </a:r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2633" y="147055"/>
            <a:ext cx="1386327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762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image" Target="../media/image1.jpeg"/><Relationship Id="rId4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Tema predeterminado">
  <a:themeElements>
    <a:clrScheme name="EVE Presentación">
      <a:dk1>
        <a:srgbClr val="141313"/>
      </a:dk1>
      <a:lt1>
        <a:srgbClr val="FFFFFF"/>
      </a:lt1>
      <a:dk2>
        <a:srgbClr val="033E7E"/>
      </a:dk2>
      <a:lt2>
        <a:srgbClr val="1B9A38"/>
      </a:lt2>
      <a:accent1>
        <a:srgbClr val="4F732E"/>
      </a:accent1>
      <a:accent2>
        <a:srgbClr val="78C5E3"/>
      </a:accent2>
      <a:accent3>
        <a:srgbClr val="EA8F4A"/>
      </a:accent3>
      <a:accent4>
        <a:srgbClr val="D84455"/>
      </a:accent4>
      <a:accent5>
        <a:srgbClr val="D478A4"/>
      </a:accent5>
      <a:accent6>
        <a:srgbClr val="DAE5EE"/>
      </a:accent6>
      <a:hlink>
        <a:srgbClr val="FFFFFE"/>
      </a:hlink>
      <a:folHlink>
        <a:srgbClr val="FFFFFE"/>
      </a:folHlink>
    </a:clrScheme>
    <a:fontScheme name="Aventura">
      <a:majorFont>
        <a:latin typeface="Calisto MT"/>
        <a:ea typeface=""/>
        <a:cs typeface=""/>
        <a:font script="Jpan" typeface="ＭＳ Ｐ明朝"/>
        <a:font script="Hans" typeface="宋体"/>
        <a:font script="Hant" typeface="新細明體"/>
      </a:majorFont>
      <a:minorFont>
        <a:latin typeface="Calisto MT"/>
        <a:ea typeface=""/>
        <a:cs typeface=""/>
        <a:font script="Jpan" typeface="ＭＳ Ｐ明朝"/>
        <a:font script="Hans" typeface="宋体"/>
        <a:font script="Hant" typeface="新細明體"/>
      </a:minorFont>
    </a:fontScheme>
    <a:fmtScheme name="Aventura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shade val="30000"/>
                <a:alpha val="50000"/>
                <a:satMod val="150000"/>
              </a:schemeClr>
              <a:schemeClr val="phClr">
                <a:tint val="50000"/>
                <a:alpha val="10000"/>
                <a:satMod val="150000"/>
              </a:schemeClr>
            </a:duotone>
          </a:blip>
          <a:stretch/>
        </a:blipFill>
        <a:blipFill rotWithShape="1">
          <a:blip xmlns:r="http://schemas.openxmlformats.org/officeDocument/2006/relationships" r:embed="rId2">
            <a:duotone>
              <a:schemeClr val="phClr">
                <a:shade val="30000"/>
                <a:alpha val="50000"/>
                <a:satMod val="150000"/>
              </a:schemeClr>
              <a:schemeClr val="phClr">
                <a:tint val="50000"/>
                <a:alpha val="10000"/>
                <a:satMod val="150000"/>
              </a:schemeClr>
            </a:duotone>
          </a:blip>
          <a:stretch/>
        </a:blipFill>
      </a:fillStyleLst>
      <a:lnStyleLst>
        <a:ln w="1905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innerShdw blurRad="76200" dist="25400" dir="13500000">
              <a:srgbClr val="4B4B4B">
                <a:alpha val="75000"/>
              </a:srgbClr>
            </a:innerShdw>
          </a:effectLst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3">
            <a:duotone>
              <a:schemeClr val="phClr">
                <a:shade val="10000"/>
                <a:alpha val="30000"/>
                <a:satMod val="60000"/>
              </a:schemeClr>
              <a:schemeClr val="phClr">
                <a:tint val="20000"/>
                <a:alpha val="5000"/>
                <a:satMod val="300000"/>
              </a:schemeClr>
            </a:duotone>
          </a:blip>
          <a:stretch/>
        </a:blipFill>
        <a:blipFill rotWithShape="1">
          <a:blip xmlns:r="http://schemas.openxmlformats.org/officeDocument/2006/relationships" r:embed="rId4">
            <a:duotone>
              <a:schemeClr val="phClr">
                <a:shade val="30000"/>
                <a:alpha val="50000"/>
                <a:satMod val="150000"/>
              </a:schemeClr>
              <a:schemeClr val="phClr">
                <a:tint val="50000"/>
                <a:alpha val="10000"/>
                <a:satMod val="150000"/>
              </a:schemeClr>
            </a:duotone>
          </a:blip>
          <a:stretch/>
        </a:blip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Diseño personalizado">
  <a:themeElements>
    <a:clrScheme name="Personalizado 22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00"/>
      </a:hlink>
      <a:folHlink>
        <a:srgbClr val="BFBFBF"/>
      </a:folHlink>
    </a:clrScheme>
    <a:fontScheme name="1_Diseño personalizado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000" b="0" i="0" u="none" strike="noStrike" cap="none" normalizeH="0" baseline="0" dirty="0" err="1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/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000" b="0" dirty="0" smtClean="0">
            <a:solidFill>
              <a:srgbClr val="000000"/>
            </a:solidFill>
            <a:latin typeface="+mn-lt"/>
          </a:defRPr>
        </a:defPPr>
      </a:lstStyle>
    </a:txDef>
  </a:objectDefaults>
  <a:extraClrSchemeLst>
    <a:extraClrScheme>
      <a:clrScheme name="1_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iseño personalizado 13">
        <a:dk1>
          <a:srgbClr val="000000"/>
        </a:dk1>
        <a:lt1>
          <a:srgbClr val="01AAD1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AAD2E5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iseño personalizado 14">
        <a:dk1>
          <a:srgbClr val="666666"/>
        </a:dk1>
        <a:lt1>
          <a:srgbClr val="C5ECF5"/>
        </a:lt1>
        <a:dk2>
          <a:srgbClr val="01AAD1"/>
        </a:dk2>
        <a:lt2>
          <a:srgbClr val="8A8A8A"/>
        </a:lt2>
        <a:accent1>
          <a:srgbClr val="80D5E9"/>
        </a:accent1>
        <a:accent2>
          <a:srgbClr val="4EC4DE"/>
        </a:accent2>
        <a:accent3>
          <a:srgbClr val="DFF4F9"/>
        </a:accent3>
        <a:accent4>
          <a:srgbClr val="565656"/>
        </a:accent4>
        <a:accent5>
          <a:srgbClr val="C0E7F2"/>
        </a:accent5>
        <a:accent6>
          <a:srgbClr val="46B1C9"/>
        </a:accent6>
        <a:hlink>
          <a:srgbClr val="A7A7A7"/>
        </a:hlink>
        <a:folHlink>
          <a:srgbClr val="C5C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iseño personalizado 15">
        <a:dk1>
          <a:srgbClr val="666666"/>
        </a:dk1>
        <a:lt1>
          <a:srgbClr val="FFFFFF"/>
        </a:lt1>
        <a:dk2>
          <a:srgbClr val="01AAD1"/>
        </a:dk2>
        <a:lt2>
          <a:srgbClr val="8A8A8A"/>
        </a:lt2>
        <a:accent1>
          <a:srgbClr val="80D5E9"/>
        </a:accent1>
        <a:accent2>
          <a:srgbClr val="4EC4DE"/>
        </a:accent2>
        <a:accent3>
          <a:srgbClr val="FFFFFF"/>
        </a:accent3>
        <a:accent4>
          <a:srgbClr val="565656"/>
        </a:accent4>
        <a:accent5>
          <a:srgbClr val="C0E7F2"/>
        </a:accent5>
        <a:accent6>
          <a:srgbClr val="46B1C9"/>
        </a:accent6>
        <a:hlink>
          <a:srgbClr val="A7A7A7"/>
        </a:hlink>
        <a:folHlink>
          <a:srgbClr val="C5C5C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Diseño personalizado">
  <a:themeElements>
    <a:clrScheme name="Personalizado 22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00"/>
      </a:hlink>
      <a:folHlink>
        <a:srgbClr val="BFBFBF"/>
      </a:folHlink>
    </a:clrScheme>
    <a:fontScheme name="1_Diseño personalizado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000" b="0" i="0" u="none" strike="noStrike" cap="none" normalizeH="0" baseline="0" dirty="0" err="1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/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000" b="0" dirty="0" smtClean="0">
            <a:solidFill>
              <a:srgbClr val="000000"/>
            </a:solidFill>
            <a:latin typeface="+mn-lt"/>
          </a:defRPr>
        </a:defPPr>
      </a:lstStyle>
    </a:txDef>
  </a:objectDefaults>
  <a:extraClrSchemeLst>
    <a:extraClrScheme>
      <a:clrScheme name="1_Diseño personaliz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iseño personaliz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iseño personaliz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iseño personaliz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iseño personaliz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iseño personaliz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iseño personaliz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iseño personaliz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iseño personaliz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iseño personaliz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iseño personaliz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iseño personaliz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iseño personalizado 13">
        <a:dk1>
          <a:srgbClr val="000000"/>
        </a:dk1>
        <a:lt1>
          <a:srgbClr val="01AAD1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AAD2E5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iseño personalizado 14">
        <a:dk1>
          <a:srgbClr val="666666"/>
        </a:dk1>
        <a:lt1>
          <a:srgbClr val="C5ECF5"/>
        </a:lt1>
        <a:dk2>
          <a:srgbClr val="01AAD1"/>
        </a:dk2>
        <a:lt2>
          <a:srgbClr val="8A8A8A"/>
        </a:lt2>
        <a:accent1>
          <a:srgbClr val="80D5E9"/>
        </a:accent1>
        <a:accent2>
          <a:srgbClr val="4EC4DE"/>
        </a:accent2>
        <a:accent3>
          <a:srgbClr val="DFF4F9"/>
        </a:accent3>
        <a:accent4>
          <a:srgbClr val="565656"/>
        </a:accent4>
        <a:accent5>
          <a:srgbClr val="C0E7F2"/>
        </a:accent5>
        <a:accent6>
          <a:srgbClr val="46B1C9"/>
        </a:accent6>
        <a:hlink>
          <a:srgbClr val="A7A7A7"/>
        </a:hlink>
        <a:folHlink>
          <a:srgbClr val="C5C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iseño personalizado 15">
        <a:dk1>
          <a:srgbClr val="666666"/>
        </a:dk1>
        <a:lt1>
          <a:srgbClr val="FFFFFF"/>
        </a:lt1>
        <a:dk2>
          <a:srgbClr val="01AAD1"/>
        </a:dk2>
        <a:lt2>
          <a:srgbClr val="8A8A8A"/>
        </a:lt2>
        <a:accent1>
          <a:srgbClr val="80D5E9"/>
        </a:accent1>
        <a:accent2>
          <a:srgbClr val="4EC4DE"/>
        </a:accent2>
        <a:accent3>
          <a:srgbClr val="FFFFFF"/>
        </a:accent3>
        <a:accent4>
          <a:srgbClr val="565656"/>
        </a:accent4>
        <a:accent5>
          <a:srgbClr val="C0E7F2"/>
        </a:accent5>
        <a:accent6>
          <a:srgbClr val="46B1C9"/>
        </a:accent6>
        <a:hlink>
          <a:srgbClr val="A7A7A7"/>
        </a:hlink>
        <a:folHlink>
          <a:srgbClr val="C5C5C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33D5075AA0BB8044B284A1A341E8F68E" ma:contentTypeVersion="1" ma:contentTypeDescription="Crear nuevo documento." ma:contentTypeScope="" ma:versionID="43098b9cf114482b442745624762592c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0b5f0d48ff83a005300e43886532853e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Fecha de inicio programada" ma:description="Fecha de inicio programada es una columna del sitio que crea la característica Publicación. Se usa para especificar la fecha y la hora a la que esta página se presentará por primera vez a los visitantes del sitio." ma:hidden="true" ma:internalName="PublishingStartDate">
      <xsd:simpleType>
        <xsd:restriction base="dms:Unknown"/>
      </xsd:simpleType>
    </xsd:element>
    <xsd:element name="PublishingExpirationDate" ma:index="9" nillable="true" ma:displayName="Fecha de finalización programada" ma:description="Fecha de finalización programada es una columna del sitio que crea la característica Publicación. Se usa para especificar la fecha y la hora a la que esta página dejará de presentarse a los visitantes del sitio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D57D2DF6-805E-4EA5-9399-75DBE11D11DA}"/>
</file>

<file path=customXml/itemProps2.xml><?xml version="1.0" encoding="utf-8"?>
<ds:datastoreItem xmlns:ds="http://schemas.openxmlformats.org/officeDocument/2006/customXml" ds:itemID="{45B7B0A4-86FF-4B0E-80A4-A4FCB76F2CEF}"/>
</file>

<file path=customXml/itemProps3.xml><?xml version="1.0" encoding="utf-8"?>
<ds:datastoreItem xmlns:ds="http://schemas.openxmlformats.org/officeDocument/2006/customXml" ds:itemID="{C139D58E-ADA8-46C5-8ABE-DA227DAB8228}"/>
</file>

<file path=docProps/app.xml><?xml version="1.0" encoding="utf-8"?>
<Properties xmlns="http://schemas.openxmlformats.org/officeDocument/2006/extended-properties" xmlns:vt="http://schemas.openxmlformats.org/officeDocument/2006/docPropsVTypes">
  <Template>Tema predeterminado.thmx</Template>
  <TotalTime>13613</TotalTime>
  <Words>447</Words>
  <Application>Microsoft Office PowerPoint</Application>
  <PresentationFormat>Presentación en pantalla (4:3)</PresentationFormat>
  <Paragraphs>80</Paragraphs>
  <Slides>9</Slides>
  <Notes>9</Notes>
  <HiddenSlides>0</HiddenSlides>
  <MMClips>0</MMClips>
  <ScaleCrop>false</ScaleCrop>
  <HeadingPairs>
    <vt:vector size="8" baseType="variant">
      <vt:variant>
        <vt:lpstr>Fuentes usadas</vt:lpstr>
      </vt:variant>
      <vt:variant>
        <vt:i4>12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9</vt:i4>
      </vt:variant>
    </vt:vector>
  </HeadingPairs>
  <TitlesOfParts>
    <vt:vector size="25" baseType="lpstr">
      <vt:lpstr>Arial</vt:lpstr>
      <vt:lpstr>Arial Narrow</vt:lpstr>
      <vt:lpstr>Calibri</vt:lpstr>
      <vt:lpstr>Calisto MT</vt:lpstr>
      <vt:lpstr>Lato</vt:lpstr>
      <vt:lpstr>Symbol</vt:lpstr>
      <vt:lpstr>Univers</vt:lpstr>
      <vt:lpstr>Univers 45 Light</vt:lpstr>
      <vt:lpstr>Univers 55</vt:lpstr>
      <vt:lpstr>Univers 57 Condensed</vt:lpstr>
      <vt:lpstr>Univers 75 Black</vt:lpstr>
      <vt:lpstr>Wingdings</vt:lpstr>
      <vt:lpstr>Tema predeterminado</vt:lpstr>
      <vt:lpstr>1_Diseño personalizado</vt:lpstr>
      <vt:lpstr>2_Diseño personalizado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milia</dc:creator>
  <cp:lastModifiedBy>Yago Torre-Enciso</cp:lastModifiedBy>
  <cp:revision>1490</cp:revision>
  <cp:lastPrinted>2019-05-17T12:13:37Z</cp:lastPrinted>
  <dcterms:created xsi:type="dcterms:W3CDTF">2014-10-03T09:24:27Z</dcterms:created>
  <dcterms:modified xsi:type="dcterms:W3CDTF">2019-11-24T18:3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D5075AA0BB8044B284A1A341E8F68E</vt:lpwstr>
  </property>
</Properties>
</file>